
<file path=[Content_Types].xml><?xml version="1.0" encoding="utf-8"?>
<Types xmlns="http://schemas.openxmlformats.org/package/2006/content-types">
  <Default Extension="xml" ContentType="application/xml"/>
  <Default Extension="bin" ContentType="application/vnd.openxmlformats-officedocument.oleObject"/>
  <Default Extension="vml" ContentType="application/vnd.openxmlformats-officedocument.vmlDrawing"/>
  <Default Extension="png" ContentType="image/png"/>
  <Default Extension="emf" ContentType="image/x-emf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2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</p:sldMasterIdLst>
  <p:notesMasterIdLst>
    <p:notesMasterId r:id="rId5"/>
  </p:notesMasterIdLst>
  <p:sldIdLst>
    <p:sldId id="1299" r:id="rId2"/>
    <p:sldId id="1439" r:id="rId3"/>
    <p:sldId id="1441" r:id="rId4"/>
  </p:sldIdLst>
  <p:sldSz cx="9144000" cy="6858000" type="screen4x3"/>
  <p:notesSz cx="6742113" cy="9872663"/>
  <p:custDataLst>
    <p:tags r:id="rId6"/>
  </p:custDataLst>
  <p:defaultTextStyle>
    <a:defPPr>
      <a:defRPr lang="en-AU"/>
    </a:defPPr>
    <a:lvl1pPr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ヒラギノ角ゴ Pro W3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ヒラギノ角ゴ Pro W3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ヒラギノ角ゴ Pro W3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ヒラギノ角ゴ Pro W3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ヒラギノ角ゴ Pro W3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ヒラギノ角ゴ Pro W3" charset="-128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ヒラギノ角ゴ Pro W3" charset="-128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ヒラギノ角ゴ Pro W3" charset="-128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ヒラギノ角ゴ Pro W3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56">
          <p15:clr>
            <a:srgbClr val="A4A3A4"/>
          </p15:clr>
        </p15:guide>
        <p15:guide id="2" orient="horz" pos="2205" userDrawn="1">
          <p15:clr>
            <a:srgbClr val="A4A3A4"/>
          </p15:clr>
        </p15:guide>
        <p15:guide id="3" orient="horz" pos="3974" userDrawn="1">
          <p15:clr>
            <a:srgbClr val="A4A3A4"/>
          </p15:clr>
        </p15:guide>
        <p15:guide id="4" pos="295">
          <p15:clr>
            <a:srgbClr val="A4A3A4"/>
          </p15:clr>
        </p15:guide>
        <p15:guide id="5" pos="5465">
          <p15:clr>
            <a:srgbClr val="A4A3A4"/>
          </p15:clr>
        </p15:guide>
        <p15:guide id="6" pos="2880">
          <p15:clr>
            <a:srgbClr val="A4A3A4"/>
          </p15:clr>
        </p15:guide>
        <p15:guide id="7" pos="340">
          <p15:clr>
            <a:srgbClr val="A4A3A4"/>
          </p15:clr>
        </p15:guide>
        <p15:guide id="8" pos="2608" userDrawn="1">
          <p15:clr>
            <a:srgbClr val="A4A3A4"/>
          </p15:clr>
        </p15:guide>
        <p15:guide id="9" orient="horz" pos="3385" userDrawn="1">
          <p15:clr>
            <a:srgbClr val="A4A3A4"/>
          </p15:clr>
        </p15:guide>
        <p15:guide id="10" orient="horz" pos="1480">
          <p15:clr>
            <a:srgbClr val="A4A3A4"/>
          </p15:clr>
        </p15:guide>
        <p15:guide id="11" pos="1565" userDrawn="1">
          <p15:clr>
            <a:srgbClr val="A4A3A4"/>
          </p15:clr>
        </p15:guide>
        <p15:guide id="12" pos="4150" userDrawn="1">
          <p15:clr>
            <a:srgbClr val="A4A3A4"/>
          </p15:clr>
        </p15:guide>
        <p15:guide id="13" orient="horz" pos="981" userDrawn="1">
          <p15:clr>
            <a:srgbClr val="A4A3A4"/>
          </p15:clr>
        </p15:guide>
        <p15:guide id="14" orient="horz" pos="261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CC00"/>
    <a:srgbClr val="06C245"/>
    <a:srgbClr val="66FF33"/>
    <a:srgbClr val="006600"/>
    <a:srgbClr val="FFFF99"/>
    <a:srgbClr val="00B050"/>
    <a:srgbClr val="CC0000"/>
    <a:srgbClr val="0066CC"/>
    <a:srgbClr val="000000"/>
    <a:srgbClr val="CC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268" autoAdjust="0"/>
    <p:restoredTop sz="95897" autoAdjust="0"/>
  </p:normalViewPr>
  <p:slideViewPr>
    <p:cSldViewPr>
      <p:cViewPr>
        <p:scale>
          <a:sx n="110" d="100"/>
          <a:sy n="110" d="100"/>
        </p:scale>
        <p:origin x="1472" y="144"/>
      </p:cViewPr>
      <p:guideLst>
        <p:guide orient="horz" pos="4156"/>
        <p:guide orient="horz" pos="2205"/>
        <p:guide orient="horz" pos="3974"/>
        <p:guide pos="295"/>
        <p:guide pos="5465"/>
        <p:guide pos="2880"/>
        <p:guide pos="340"/>
        <p:guide pos="2608"/>
        <p:guide orient="horz" pos="3385"/>
        <p:guide orient="horz" pos="1480"/>
        <p:guide pos="1565"/>
        <p:guide pos="4150"/>
        <p:guide orient="horz" pos="981"/>
        <p:guide orient="horz" pos="2614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50" d="100"/>
        <a:sy n="150" d="100"/>
      </p:scale>
      <p:origin x="0" y="-8268"/>
    </p:cViewPr>
  </p:sorterViewPr>
  <p:notesViewPr>
    <p:cSldViewPr showGuides="1">
      <p:cViewPr varScale="1">
        <p:scale>
          <a:sx n="79" d="100"/>
          <a:sy n="79" d="100"/>
        </p:scale>
        <p:origin x="-3942" y="-90"/>
      </p:cViewPr>
      <p:guideLst>
        <p:guide orient="horz" pos="3110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notesMaster" Target="notesMasters/notesMaster1.xml"/><Relationship Id="rId6" Type="http://schemas.openxmlformats.org/officeDocument/2006/relationships/tags" Target="tags/tag1.xml"/><Relationship Id="rId7" Type="http://schemas.openxmlformats.org/officeDocument/2006/relationships/presProps" Target="presProps.xml"/><Relationship Id="rId8" Type="http://schemas.openxmlformats.org/officeDocument/2006/relationships/viewProps" Target="viewProps.xml"/><Relationship Id="rId9" Type="http://schemas.openxmlformats.org/officeDocument/2006/relationships/theme" Target="theme/theme1.xml"/><Relationship Id="rId1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image" Target="../media/image10.png"/><Relationship Id="rId1" Type="http://schemas.openxmlformats.org/officeDocument/2006/relationships/image" Target="../media/image7.png"/><Relationship Id="rId2" Type="http://schemas.openxmlformats.org/officeDocument/2006/relationships/image" Target="../media/image8.png"/></Relationships>
</file>

<file path=ppt/diagrams/_rels/data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1.png"/><Relationship Id="rId2" Type="http://schemas.openxmlformats.org/officeDocument/2006/relationships/image" Target="../media/image12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image" Target="../media/image10.png"/><Relationship Id="rId1" Type="http://schemas.openxmlformats.org/officeDocument/2006/relationships/image" Target="../media/image7.png"/><Relationship Id="rId2" Type="http://schemas.openxmlformats.org/officeDocument/2006/relationships/image" Target="../media/image8.png"/></Relationships>
</file>

<file path=ppt/diagrams/_rels/drawing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1.png"/><Relationship Id="rId2" Type="http://schemas.openxmlformats.org/officeDocument/2006/relationships/image" Target="../media/image12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18D8E96-FBD3-40FE-81C1-E8243D6E961E}" type="doc">
      <dgm:prSet loTypeId="urn:microsoft.com/office/officeart/2005/8/layout/vList4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AU"/>
        </a:p>
      </dgm:t>
    </dgm:pt>
    <dgm:pt modelId="{462EFF02-F847-449D-8EC0-E624F059CE38}">
      <dgm:prSet phldrT="[Text]" custT="1"/>
      <dgm:spPr/>
      <dgm:t>
        <a:bodyPr/>
        <a:lstStyle/>
        <a:p>
          <a:r>
            <a:rPr lang="en-AU" sz="1600" b="1" dirty="0">
              <a:latin typeface="Century Gothic" pitchFamily="34" charset="0"/>
            </a:rPr>
            <a:t>Business and functional strategy</a:t>
          </a:r>
        </a:p>
        <a:p>
          <a:r>
            <a:rPr lang="en-AU" sz="1400" dirty="0">
              <a:latin typeface="Century Gothic" pitchFamily="34" charset="0"/>
            </a:rPr>
            <a:t>   Strategic </a:t>
          </a:r>
          <a:r>
            <a:rPr lang="en-AU" sz="1400" dirty="0" smtClean="0">
              <a:latin typeface="Century Gothic" pitchFamily="34" charset="0"/>
            </a:rPr>
            <a:t>Vision</a:t>
          </a:r>
        </a:p>
        <a:p>
          <a:r>
            <a:rPr lang="en-AU" sz="1400" dirty="0" smtClean="0">
              <a:latin typeface="Century Gothic" pitchFamily="34" charset="0"/>
            </a:rPr>
            <a:t>   Transformational change</a:t>
          </a:r>
          <a:endParaRPr lang="en-AU" sz="1400" dirty="0">
            <a:latin typeface="Century Gothic" pitchFamily="34" charset="0"/>
          </a:endParaRPr>
        </a:p>
        <a:p>
          <a:r>
            <a:rPr lang="en-AU" sz="1400" dirty="0">
              <a:latin typeface="Century Gothic" pitchFamily="34" charset="0"/>
            </a:rPr>
            <a:t>   Coaching High Performing teams</a:t>
          </a:r>
        </a:p>
      </dgm:t>
    </dgm:pt>
    <dgm:pt modelId="{3AF0E08C-DA1E-4C1E-90FA-91A598C5B455}" type="parTrans" cxnId="{D753ADCB-A0D7-4AF1-80DB-52040F47830C}">
      <dgm:prSet/>
      <dgm:spPr/>
      <dgm:t>
        <a:bodyPr/>
        <a:lstStyle/>
        <a:p>
          <a:endParaRPr lang="en-AU">
            <a:latin typeface="Century Gothic" pitchFamily="34" charset="0"/>
          </a:endParaRPr>
        </a:p>
      </dgm:t>
    </dgm:pt>
    <dgm:pt modelId="{27A23AC0-3F86-4EBB-913F-A8E0FAB75F00}" type="sibTrans" cxnId="{D753ADCB-A0D7-4AF1-80DB-52040F47830C}">
      <dgm:prSet/>
      <dgm:spPr/>
      <dgm:t>
        <a:bodyPr/>
        <a:lstStyle/>
        <a:p>
          <a:endParaRPr lang="en-AU">
            <a:latin typeface="Century Gothic" pitchFamily="34" charset="0"/>
          </a:endParaRPr>
        </a:p>
      </dgm:t>
    </dgm:pt>
    <dgm:pt modelId="{03713AE8-B0A0-4EFD-B784-8F7C20787AEE}">
      <dgm:prSet phldrT="[Text]" custT="1"/>
      <dgm:spPr/>
      <dgm:t>
        <a:bodyPr/>
        <a:lstStyle/>
        <a:p>
          <a:r>
            <a:rPr lang="en-AU" sz="1600" b="1" dirty="0" smtClean="0">
              <a:latin typeface="Century Gothic" pitchFamily="34" charset="0"/>
            </a:rPr>
            <a:t>Consumer </a:t>
          </a:r>
          <a:r>
            <a:rPr lang="en-AU" sz="1600" b="1" dirty="0">
              <a:latin typeface="Century Gothic" pitchFamily="34" charset="0"/>
            </a:rPr>
            <a:t>connection</a:t>
          </a:r>
        </a:p>
      </dgm:t>
    </dgm:pt>
    <dgm:pt modelId="{FBEA1000-5E1B-4C56-B30E-0CBF157F21A5}" type="parTrans" cxnId="{1EBE4719-AC19-40B5-B04D-05002399C0AD}">
      <dgm:prSet/>
      <dgm:spPr/>
      <dgm:t>
        <a:bodyPr/>
        <a:lstStyle/>
        <a:p>
          <a:endParaRPr lang="en-AU">
            <a:latin typeface="Century Gothic" pitchFamily="34" charset="0"/>
          </a:endParaRPr>
        </a:p>
      </dgm:t>
    </dgm:pt>
    <dgm:pt modelId="{60F5C188-FE76-41B9-B2A1-6B7ADB50AE32}" type="sibTrans" cxnId="{1EBE4719-AC19-40B5-B04D-05002399C0AD}">
      <dgm:prSet/>
      <dgm:spPr/>
      <dgm:t>
        <a:bodyPr/>
        <a:lstStyle/>
        <a:p>
          <a:endParaRPr lang="en-AU">
            <a:latin typeface="Century Gothic" pitchFamily="34" charset="0"/>
          </a:endParaRPr>
        </a:p>
      </dgm:t>
    </dgm:pt>
    <dgm:pt modelId="{ED58CC06-D311-4394-BB98-225B03E21DF4}">
      <dgm:prSet phldrT="[Text]" custT="1"/>
      <dgm:spPr/>
      <dgm:t>
        <a:bodyPr/>
        <a:lstStyle/>
        <a:p>
          <a:r>
            <a:rPr lang="en-AU" sz="1600" b="1" dirty="0">
              <a:latin typeface="Century Gothic" pitchFamily="34" charset="0"/>
            </a:rPr>
            <a:t>Supply Chain </a:t>
          </a:r>
          <a:r>
            <a:rPr lang="en-AU" sz="1600" b="1" dirty="0" smtClean="0">
              <a:latin typeface="Century Gothic" pitchFamily="34" charset="0"/>
            </a:rPr>
            <a:t>optimisation</a:t>
          </a:r>
        </a:p>
        <a:p>
          <a:r>
            <a:rPr lang="en-AU" sz="1600" b="1" dirty="0" smtClean="0">
              <a:latin typeface="Century Gothic" pitchFamily="34" charset="0"/>
            </a:rPr>
            <a:t>   </a:t>
          </a:r>
          <a:r>
            <a:rPr lang="en-AU" sz="1400" dirty="0" smtClean="0">
              <a:latin typeface="Century Gothic" pitchFamily="34" charset="0"/>
            </a:rPr>
            <a:t>Procurement strategies &amp; negotiation</a:t>
          </a:r>
        </a:p>
        <a:p>
          <a:r>
            <a:rPr lang="en-AU" sz="1400" dirty="0" smtClean="0">
              <a:latin typeface="Century Gothic" pitchFamily="34" charset="0"/>
            </a:rPr>
            <a:t>   Efficiency and effectiveness</a:t>
          </a:r>
        </a:p>
        <a:p>
          <a:r>
            <a:rPr lang="en-AU" sz="1400" dirty="0" smtClean="0">
              <a:latin typeface="Century Gothic" pitchFamily="34" charset="0"/>
            </a:rPr>
            <a:t>   S&amp;OP</a:t>
          </a:r>
          <a:endParaRPr lang="en-AU" sz="1400" dirty="0">
            <a:latin typeface="Century Gothic" pitchFamily="34" charset="0"/>
          </a:endParaRPr>
        </a:p>
      </dgm:t>
    </dgm:pt>
    <dgm:pt modelId="{621F4570-26E3-4C0E-834E-120AD7C4FB19}" type="parTrans" cxnId="{00630E01-7CC3-45EB-BDE0-3FD77D5D48B6}">
      <dgm:prSet/>
      <dgm:spPr/>
      <dgm:t>
        <a:bodyPr/>
        <a:lstStyle/>
        <a:p>
          <a:endParaRPr lang="en-AU">
            <a:latin typeface="Century Gothic" pitchFamily="34" charset="0"/>
          </a:endParaRPr>
        </a:p>
      </dgm:t>
    </dgm:pt>
    <dgm:pt modelId="{BDF9130A-F68B-4E07-8099-64E067316307}" type="sibTrans" cxnId="{00630E01-7CC3-45EB-BDE0-3FD77D5D48B6}">
      <dgm:prSet/>
      <dgm:spPr/>
      <dgm:t>
        <a:bodyPr/>
        <a:lstStyle/>
        <a:p>
          <a:endParaRPr lang="en-AU">
            <a:latin typeface="Century Gothic" pitchFamily="34" charset="0"/>
          </a:endParaRPr>
        </a:p>
      </dgm:t>
    </dgm:pt>
    <dgm:pt modelId="{624D51D0-33A2-45E0-9844-AF0C2441DCB8}">
      <dgm:prSet phldrT="[Text]" custT="1"/>
      <dgm:spPr/>
      <dgm:t>
        <a:bodyPr/>
        <a:lstStyle/>
        <a:p>
          <a:r>
            <a:rPr lang="en-AU" sz="1600" b="1" dirty="0">
              <a:latin typeface="Century Gothic" pitchFamily="34" charset="0"/>
            </a:rPr>
            <a:t>Customer alignment and engagement</a:t>
          </a:r>
        </a:p>
      </dgm:t>
    </dgm:pt>
    <dgm:pt modelId="{EE3966FB-FBB0-47EE-8DE7-D1C274CA7606}" type="parTrans" cxnId="{F846FFAE-8C9D-481B-BF1D-50DCF4202EBE}">
      <dgm:prSet/>
      <dgm:spPr/>
      <dgm:t>
        <a:bodyPr/>
        <a:lstStyle/>
        <a:p>
          <a:endParaRPr lang="en-AU">
            <a:latin typeface="Century Gothic" pitchFamily="34" charset="0"/>
          </a:endParaRPr>
        </a:p>
      </dgm:t>
    </dgm:pt>
    <dgm:pt modelId="{91137AFE-D792-434C-BE9D-A2F32084A2A3}" type="sibTrans" cxnId="{F846FFAE-8C9D-481B-BF1D-50DCF4202EBE}">
      <dgm:prSet/>
      <dgm:spPr/>
      <dgm:t>
        <a:bodyPr/>
        <a:lstStyle/>
        <a:p>
          <a:endParaRPr lang="en-AU">
            <a:latin typeface="Century Gothic" pitchFamily="34" charset="0"/>
          </a:endParaRPr>
        </a:p>
      </dgm:t>
    </dgm:pt>
    <dgm:pt modelId="{C8CC2440-B3A3-4468-BED6-89AA1B8F3880}">
      <dgm:prSet phldrT="[Text]" custT="1"/>
      <dgm:spPr/>
      <dgm:t>
        <a:bodyPr/>
        <a:lstStyle/>
        <a:p>
          <a:pPr marL="177800" indent="-177800"/>
          <a:r>
            <a:rPr lang="en-AU" sz="1400" dirty="0">
              <a:latin typeface="Century Gothic" pitchFamily="34" charset="0"/>
            </a:rPr>
            <a:t>Joined up business </a:t>
          </a:r>
          <a:r>
            <a:rPr lang="en-AU" sz="1400" dirty="0" smtClean="0">
              <a:latin typeface="Century Gothic" pitchFamily="34" charset="0"/>
            </a:rPr>
            <a:t>plans and terms effectiveness</a:t>
          </a:r>
          <a:endParaRPr lang="en-AU" sz="1400" dirty="0">
            <a:latin typeface="Century Gothic" pitchFamily="34" charset="0"/>
          </a:endParaRPr>
        </a:p>
      </dgm:t>
    </dgm:pt>
    <dgm:pt modelId="{11234D24-240A-4B6F-839E-2CA4CBE289FD}" type="sibTrans" cxnId="{D7CD6225-4ADC-48FD-9D55-0AE15B679038}">
      <dgm:prSet/>
      <dgm:spPr/>
      <dgm:t>
        <a:bodyPr/>
        <a:lstStyle/>
        <a:p>
          <a:endParaRPr lang="en-AU">
            <a:latin typeface="Century Gothic" pitchFamily="34" charset="0"/>
          </a:endParaRPr>
        </a:p>
      </dgm:t>
    </dgm:pt>
    <dgm:pt modelId="{02886CB5-6D4A-4DA8-800A-A7AB60BE13A2}" type="parTrans" cxnId="{D7CD6225-4ADC-48FD-9D55-0AE15B679038}">
      <dgm:prSet/>
      <dgm:spPr/>
      <dgm:t>
        <a:bodyPr/>
        <a:lstStyle/>
        <a:p>
          <a:endParaRPr lang="en-AU">
            <a:latin typeface="Century Gothic" pitchFamily="34" charset="0"/>
          </a:endParaRPr>
        </a:p>
      </dgm:t>
    </dgm:pt>
    <dgm:pt modelId="{5FFEDFF1-022F-4A7C-B705-7E7CC9F543AA}">
      <dgm:prSet phldrT="[Text]" custT="1"/>
      <dgm:spPr/>
      <dgm:t>
        <a:bodyPr/>
        <a:lstStyle/>
        <a:p>
          <a:pPr marL="177800" indent="-177800"/>
          <a:r>
            <a:rPr lang="en-AU" sz="1400" dirty="0">
              <a:latin typeface="Century Gothic" pitchFamily="34" charset="0"/>
            </a:rPr>
            <a:t>Key Account Management</a:t>
          </a:r>
        </a:p>
      </dgm:t>
    </dgm:pt>
    <dgm:pt modelId="{9FE78483-7D11-4B22-AF87-B966C1701BFC}" type="sibTrans" cxnId="{F76F6FC5-B5D0-4DDE-B8DE-E4017BADEA5D}">
      <dgm:prSet/>
      <dgm:spPr/>
      <dgm:t>
        <a:bodyPr/>
        <a:lstStyle/>
        <a:p>
          <a:endParaRPr lang="en-AU"/>
        </a:p>
      </dgm:t>
    </dgm:pt>
    <dgm:pt modelId="{F9C67A68-9E95-42B4-AAF5-4EF5AF864CF7}" type="parTrans" cxnId="{F76F6FC5-B5D0-4DDE-B8DE-E4017BADEA5D}">
      <dgm:prSet/>
      <dgm:spPr/>
      <dgm:t>
        <a:bodyPr/>
        <a:lstStyle/>
        <a:p>
          <a:endParaRPr lang="en-AU"/>
        </a:p>
      </dgm:t>
    </dgm:pt>
    <dgm:pt modelId="{5E075B6B-3D21-234E-AFB6-8737F697523F}">
      <dgm:prSet custT="1"/>
      <dgm:spPr/>
      <dgm:t>
        <a:bodyPr/>
        <a:lstStyle/>
        <a:p>
          <a:r>
            <a:rPr lang="en-AU" sz="1400" dirty="0">
              <a:latin typeface="Century Gothic" pitchFamily="34" charset="0"/>
            </a:rPr>
            <a:t> Category Management</a:t>
          </a:r>
        </a:p>
      </dgm:t>
    </dgm:pt>
    <dgm:pt modelId="{67D11862-4CC0-6546-8F71-C88291B27556}" type="parTrans" cxnId="{9AAF125C-2709-A748-8415-6058DCF2C8ED}">
      <dgm:prSet/>
      <dgm:spPr/>
      <dgm:t>
        <a:bodyPr/>
        <a:lstStyle/>
        <a:p>
          <a:endParaRPr lang="en-US"/>
        </a:p>
      </dgm:t>
    </dgm:pt>
    <dgm:pt modelId="{D6D355FF-3DAC-2347-8485-A25DCBFBF2B1}" type="sibTrans" cxnId="{9AAF125C-2709-A748-8415-6058DCF2C8ED}">
      <dgm:prSet/>
      <dgm:spPr/>
      <dgm:t>
        <a:bodyPr/>
        <a:lstStyle/>
        <a:p>
          <a:endParaRPr lang="en-US"/>
        </a:p>
      </dgm:t>
    </dgm:pt>
    <dgm:pt modelId="{95E8DAAA-D467-F043-AB8D-436B044E6893}">
      <dgm:prSet custT="1"/>
      <dgm:spPr/>
      <dgm:t>
        <a:bodyPr/>
        <a:lstStyle/>
        <a:p>
          <a:r>
            <a:rPr lang="en-AU" sz="1400" dirty="0">
              <a:latin typeface="Century Gothic" pitchFamily="34" charset="0"/>
            </a:rPr>
            <a:t> </a:t>
          </a:r>
          <a:r>
            <a:rPr lang="en-AU" sz="1400" dirty="0" smtClean="0">
              <a:latin typeface="Century Gothic" pitchFamily="34" charset="0"/>
            </a:rPr>
            <a:t>Pricing and export strategies</a:t>
          </a:r>
          <a:endParaRPr lang="en-AU" sz="1400" dirty="0">
            <a:latin typeface="Century Gothic" pitchFamily="34" charset="0"/>
          </a:endParaRPr>
        </a:p>
      </dgm:t>
    </dgm:pt>
    <dgm:pt modelId="{E44CDFD4-34A5-B048-8AE4-F32C2872A3E5}" type="parTrans" cxnId="{1157E38C-46A7-3049-8A00-C31861CFE43F}">
      <dgm:prSet/>
      <dgm:spPr/>
      <dgm:t>
        <a:bodyPr/>
        <a:lstStyle/>
        <a:p>
          <a:endParaRPr lang="en-US"/>
        </a:p>
      </dgm:t>
    </dgm:pt>
    <dgm:pt modelId="{52D83B6A-A81E-834C-9CC4-4F600426748F}" type="sibTrans" cxnId="{1157E38C-46A7-3049-8A00-C31861CFE43F}">
      <dgm:prSet/>
      <dgm:spPr/>
      <dgm:t>
        <a:bodyPr/>
        <a:lstStyle/>
        <a:p>
          <a:endParaRPr lang="en-US"/>
        </a:p>
      </dgm:t>
    </dgm:pt>
    <dgm:pt modelId="{F56F79C2-A4A6-D342-9479-9F5935261CB6}">
      <dgm:prSet phldrT="[Text]" custT="1"/>
      <dgm:spPr/>
      <dgm:t>
        <a:bodyPr/>
        <a:lstStyle/>
        <a:p>
          <a:pPr marL="177800" indent="-177800"/>
          <a:r>
            <a:rPr lang="en-AU" sz="1400" dirty="0" smtClean="0">
              <a:latin typeface="Century Gothic" pitchFamily="34" charset="0"/>
            </a:rPr>
            <a:t>Go to Mkt Strategies and Execution</a:t>
          </a:r>
          <a:endParaRPr lang="en-AU" sz="1400" dirty="0">
            <a:latin typeface="Century Gothic" pitchFamily="34" charset="0"/>
          </a:endParaRPr>
        </a:p>
      </dgm:t>
    </dgm:pt>
    <dgm:pt modelId="{A2FFE0BD-51B2-2D41-A01F-49CB962DD9ED}" type="parTrans" cxnId="{623BE172-196B-F747-BD03-D035C22B614A}">
      <dgm:prSet/>
      <dgm:spPr/>
      <dgm:t>
        <a:bodyPr/>
        <a:lstStyle/>
        <a:p>
          <a:endParaRPr lang="en-US"/>
        </a:p>
      </dgm:t>
    </dgm:pt>
    <dgm:pt modelId="{65F380AA-14EE-4644-B916-C312EE573F51}" type="sibTrans" cxnId="{623BE172-196B-F747-BD03-D035C22B614A}">
      <dgm:prSet/>
      <dgm:spPr/>
      <dgm:t>
        <a:bodyPr/>
        <a:lstStyle/>
        <a:p>
          <a:endParaRPr lang="en-US"/>
        </a:p>
      </dgm:t>
    </dgm:pt>
    <dgm:pt modelId="{C71603CF-BCA7-4CA1-B084-71445E2D27D5}" type="pres">
      <dgm:prSet presAssocID="{D18D8E96-FBD3-40FE-81C1-E8243D6E961E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98386A5-F7DA-4321-A4DF-3356B3456838}" type="pres">
      <dgm:prSet presAssocID="{462EFF02-F847-449D-8EC0-E624F059CE38}" presName="comp" presStyleCnt="0"/>
      <dgm:spPr/>
    </dgm:pt>
    <dgm:pt modelId="{41A66B0B-F335-4549-A7E4-7DF7F8A44D62}" type="pres">
      <dgm:prSet presAssocID="{462EFF02-F847-449D-8EC0-E624F059CE38}" presName="box" presStyleLbl="node1" presStyleIdx="0" presStyleCnt="4" custLinFactNeighborX="793"/>
      <dgm:spPr/>
      <dgm:t>
        <a:bodyPr/>
        <a:lstStyle/>
        <a:p>
          <a:endParaRPr lang="en-US"/>
        </a:p>
      </dgm:t>
    </dgm:pt>
    <dgm:pt modelId="{E82FEDF0-E3BC-4213-A86A-631EB9A76EDC}" type="pres">
      <dgm:prSet presAssocID="{462EFF02-F847-449D-8EC0-E624F059CE38}" presName="img" presStyleLbl="fgImgPlace1" presStyleIdx="0" presStyleCnt="4"/>
      <dgm:spPr>
        <a:blipFill rotWithShape="1">
          <a:blip xmlns:r="http://schemas.openxmlformats.org/officeDocument/2006/relationships" r:embed="rId1"/>
          <a:srcRect/>
          <a:stretch>
            <a:fillRect t="-11000" b="-11000"/>
          </a:stretch>
        </a:blipFill>
      </dgm:spPr>
      <dgm:t>
        <a:bodyPr/>
        <a:lstStyle/>
        <a:p>
          <a:endParaRPr lang="en-US"/>
        </a:p>
      </dgm:t>
    </dgm:pt>
    <dgm:pt modelId="{B268C9EE-462B-4E02-B6EC-52310DB389FF}" type="pres">
      <dgm:prSet presAssocID="{462EFF02-F847-449D-8EC0-E624F059CE38}" presName="text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0E8BDB-1201-4749-A095-96443656955F}" type="pres">
      <dgm:prSet presAssocID="{27A23AC0-3F86-4EBB-913F-A8E0FAB75F00}" presName="spacer" presStyleCnt="0"/>
      <dgm:spPr/>
    </dgm:pt>
    <dgm:pt modelId="{F4E48E8D-852F-4374-AD55-04A480C29EFB}" type="pres">
      <dgm:prSet presAssocID="{624D51D0-33A2-45E0-9844-AF0C2441DCB8}" presName="comp" presStyleCnt="0"/>
      <dgm:spPr/>
    </dgm:pt>
    <dgm:pt modelId="{7748A86C-B798-4D8D-8C4C-D6219D93FF61}" type="pres">
      <dgm:prSet presAssocID="{624D51D0-33A2-45E0-9844-AF0C2441DCB8}" presName="box" presStyleLbl="node1" presStyleIdx="1" presStyleCnt="4" custLinFactNeighborY="-3302"/>
      <dgm:spPr/>
      <dgm:t>
        <a:bodyPr/>
        <a:lstStyle/>
        <a:p>
          <a:endParaRPr lang="en-US"/>
        </a:p>
      </dgm:t>
    </dgm:pt>
    <dgm:pt modelId="{12E15555-7682-4623-B455-A31BDE483525}" type="pres">
      <dgm:prSet presAssocID="{624D51D0-33A2-45E0-9844-AF0C2441DCB8}" presName="img" presStyleLbl="fgImgPlace1" presStyleIdx="1" presStyleCnt="4" custLinFactNeighborY="-3846"/>
      <dgm:spPr>
        <a:blipFill rotWithShape="1">
          <a:blip xmlns:r="http://schemas.openxmlformats.org/officeDocument/2006/relationships" r:embed="rId2"/>
          <a:srcRect/>
          <a:stretch>
            <a:fillRect t="-6000" b="-6000"/>
          </a:stretch>
        </a:blipFill>
      </dgm:spPr>
      <dgm:t>
        <a:bodyPr/>
        <a:lstStyle/>
        <a:p>
          <a:endParaRPr lang="en-US"/>
        </a:p>
      </dgm:t>
    </dgm:pt>
    <dgm:pt modelId="{A72EAAE7-262D-4378-B710-FA0FF50696AC}" type="pres">
      <dgm:prSet presAssocID="{624D51D0-33A2-45E0-9844-AF0C2441DCB8}" presName="text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9227B13-7E7B-40F3-883A-5FC45D0D23C1}" type="pres">
      <dgm:prSet presAssocID="{91137AFE-D792-434C-BE9D-A2F32084A2A3}" presName="spacer" presStyleCnt="0"/>
      <dgm:spPr/>
    </dgm:pt>
    <dgm:pt modelId="{44601A5B-C96F-4EC2-8DFF-52D599A5652B}" type="pres">
      <dgm:prSet presAssocID="{03713AE8-B0A0-4EFD-B784-8F7C20787AEE}" presName="comp" presStyleCnt="0"/>
      <dgm:spPr/>
    </dgm:pt>
    <dgm:pt modelId="{DC50BBF0-7D57-4291-ACC2-BE2B225F0F8C}" type="pres">
      <dgm:prSet presAssocID="{03713AE8-B0A0-4EFD-B784-8F7C20787AEE}" presName="box" presStyleLbl="node1" presStyleIdx="2" presStyleCnt="4" custLinFactNeighborY="-7082"/>
      <dgm:spPr/>
      <dgm:t>
        <a:bodyPr/>
        <a:lstStyle/>
        <a:p>
          <a:endParaRPr lang="en-US"/>
        </a:p>
      </dgm:t>
    </dgm:pt>
    <dgm:pt modelId="{B8B14BB2-DC8C-42C0-B56D-7BAB20E8CED6}" type="pres">
      <dgm:prSet presAssocID="{03713AE8-B0A0-4EFD-B784-8F7C20787AEE}" presName="img" presStyleLbl="fgImgPlace1" presStyleIdx="2" presStyleCnt="4" custScaleY="100000" custLinFactNeighborY="-5820"/>
      <dgm:spPr>
        <a:blipFill rotWithShape="1">
          <a:blip xmlns:r="http://schemas.openxmlformats.org/officeDocument/2006/relationships" r:embed="rId3"/>
          <a:srcRect/>
          <a:stretch>
            <a:fillRect l="-41000" r="-41000"/>
          </a:stretch>
        </a:blipFill>
      </dgm:spPr>
      <dgm:t>
        <a:bodyPr/>
        <a:lstStyle/>
        <a:p>
          <a:endParaRPr lang="en-US"/>
        </a:p>
      </dgm:t>
    </dgm:pt>
    <dgm:pt modelId="{F6E8553C-0507-4BAF-992A-6516F899CCA1}" type="pres">
      <dgm:prSet presAssocID="{03713AE8-B0A0-4EFD-B784-8F7C20787AEE}" presName="text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C54F308-5942-4DA4-B48F-F8FCACD75BFE}" type="pres">
      <dgm:prSet presAssocID="{60F5C188-FE76-41B9-B2A1-6B7ADB50AE32}" presName="spacer" presStyleCnt="0"/>
      <dgm:spPr/>
    </dgm:pt>
    <dgm:pt modelId="{ACDE39A7-E0F5-498B-B34D-0B2512484F81}" type="pres">
      <dgm:prSet presAssocID="{ED58CC06-D311-4394-BB98-225B03E21DF4}" presName="comp" presStyleCnt="0"/>
      <dgm:spPr/>
    </dgm:pt>
    <dgm:pt modelId="{20A23B84-6B00-4907-9A66-D7291886432B}" type="pres">
      <dgm:prSet presAssocID="{ED58CC06-D311-4394-BB98-225B03E21DF4}" presName="box" presStyleLbl="node1" presStyleIdx="3" presStyleCnt="4" custLinFactNeighborY="-11409"/>
      <dgm:spPr/>
      <dgm:t>
        <a:bodyPr/>
        <a:lstStyle/>
        <a:p>
          <a:endParaRPr lang="en-US"/>
        </a:p>
      </dgm:t>
    </dgm:pt>
    <dgm:pt modelId="{1E191B0D-3A6F-483E-B4C7-068639A62700}" type="pres">
      <dgm:prSet presAssocID="{ED58CC06-D311-4394-BB98-225B03E21DF4}" presName="img" presStyleLbl="fgImgPlace1" presStyleIdx="3" presStyleCnt="4" custLinFactNeighborY="-12820"/>
      <dgm:spPr>
        <a:blipFill rotWithShape="1">
          <a:blip xmlns:r="http://schemas.openxmlformats.org/officeDocument/2006/relationships" r:embed="rId4"/>
          <a:srcRect/>
          <a:stretch>
            <a:fillRect l="-11000" r="-11000"/>
          </a:stretch>
        </a:blipFill>
      </dgm:spPr>
      <dgm:t>
        <a:bodyPr/>
        <a:lstStyle/>
        <a:p>
          <a:endParaRPr lang="en-US"/>
        </a:p>
      </dgm:t>
    </dgm:pt>
    <dgm:pt modelId="{90425200-DB62-4A4E-B296-79E8E240E1C9}" type="pres">
      <dgm:prSet presAssocID="{ED58CC06-D311-4394-BB98-225B03E21DF4}" presName="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157E38C-46A7-3049-8A00-C31861CFE43F}" srcId="{03713AE8-B0A0-4EFD-B784-8F7C20787AEE}" destId="{95E8DAAA-D467-F043-AB8D-436B044E6893}" srcOrd="1" destOrd="0" parTransId="{E44CDFD4-34A5-B048-8AE4-F32C2872A3E5}" sibTransId="{52D83B6A-A81E-834C-9CC4-4F600426748F}"/>
    <dgm:cxn modelId="{1DED67D5-C6BB-6141-8F80-9907B3A5D215}" type="presOf" srcId="{5E075B6B-3D21-234E-AFB6-8737F697523F}" destId="{F6E8553C-0507-4BAF-992A-6516F899CCA1}" srcOrd="1" destOrd="1" presId="urn:microsoft.com/office/officeart/2005/8/layout/vList4"/>
    <dgm:cxn modelId="{D7CD6225-4ADC-48FD-9D55-0AE15B679038}" srcId="{624D51D0-33A2-45E0-9844-AF0C2441DCB8}" destId="{C8CC2440-B3A3-4468-BED6-89AA1B8F3880}" srcOrd="0" destOrd="0" parTransId="{02886CB5-6D4A-4DA8-800A-A7AB60BE13A2}" sibTransId="{11234D24-240A-4B6F-839E-2CA4CBE289FD}"/>
    <dgm:cxn modelId="{D54DBD25-6A51-BF4C-B733-E91377A9582E}" type="presOf" srcId="{C8CC2440-B3A3-4468-BED6-89AA1B8F3880}" destId="{A72EAAE7-262D-4378-B710-FA0FF50696AC}" srcOrd="1" destOrd="1" presId="urn:microsoft.com/office/officeart/2005/8/layout/vList4"/>
    <dgm:cxn modelId="{6B4EE27C-C668-B04C-AEFD-9B74B92B2370}" type="presOf" srcId="{03713AE8-B0A0-4EFD-B784-8F7C20787AEE}" destId="{DC50BBF0-7D57-4291-ACC2-BE2B225F0F8C}" srcOrd="0" destOrd="0" presId="urn:microsoft.com/office/officeart/2005/8/layout/vList4"/>
    <dgm:cxn modelId="{79D389BA-B8D0-4741-9629-FC9B8714A0DB}" type="presOf" srcId="{462EFF02-F847-449D-8EC0-E624F059CE38}" destId="{41A66B0B-F335-4549-A7E4-7DF7F8A44D62}" srcOrd="0" destOrd="0" presId="urn:microsoft.com/office/officeart/2005/8/layout/vList4"/>
    <dgm:cxn modelId="{07ECF5E9-7882-3844-93AB-FB3A43E94DAF}" type="presOf" srcId="{C8CC2440-B3A3-4468-BED6-89AA1B8F3880}" destId="{7748A86C-B798-4D8D-8C4C-D6219D93FF61}" srcOrd="0" destOrd="1" presId="urn:microsoft.com/office/officeart/2005/8/layout/vList4"/>
    <dgm:cxn modelId="{162C0C5C-3659-F247-B55F-E637ACC4F83F}" type="presOf" srcId="{ED58CC06-D311-4394-BB98-225B03E21DF4}" destId="{20A23B84-6B00-4907-9A66-D7291886432B}" srcOrd="0" destOrd="0" presId="urn:microsoft.com/office/officeart/2005/8/layout/vList4"/>
    <dgm:cxn modelId="{9AAF125C-2709-A748-8415-6058DCF2C8ED}" srcId="{03713AE8-B0A0-4EFD-B784-8F7C20787AEE}" destId="{5E075B6B-3D21-234E-AFB6-8737F697523F}" srcOrd="0" destOrd="0" parTransId="{67D11862-4CC0-6546-8F71-C88291B27556}" sibTransId="{D6D355FF-3DAC-2347-8485-A25DCBFBF2B1}"/>
    <dgm:cxn modelId="{9AB99527-A640-5541-A6BB-1A8A58B729D5}" type="presOf" srcId="{ED58CC06-D311-4394-BB98-225B03E21DF4}" destId="{90425200-DB62-4A4E-B296-79E8E240E1C9}" srcOrd="1" destOrd="0" presId="urn:microsoft.com/office/officeart/2005/8/layout/vList4"/>
    <dgm:cxn modelId="{623BE172-196B-F747-BD03-D035C22B614A}" srcId="{624D51D0-33A2-45E0-9844-AF0C2441DCB8}" destId="{F56F79C2-A4A6-D342-9479-9F5935261CB6}" srcOrd="2" destOrd="0" parTransId="{A2FFE0BD-51B2-2D41-A01F-49CB962DD9ED}" sibTransId="{65F380AA-14EE-4644-B916-C312EE573F51}"/>
    <dgm:cxn modelId="{F846FFAE-8C9D-481B-BF1D-50DCF4202EBE}" srcId="{D18D8E96-FBD3-40FE-81C1-E8243D6E961E}" destId="{624D51D0-33A2-45E0-9844-AF0C2441DCB8}" srcOrd="1" destOrd="0" parTransId="{EE3966FB-FBB0-47EE-8DE7-D1C274CA7606}" sibTransId="{91137AFE-D792-434C-BE9D-A2F32084A2A3}"/>
    <dgm:cxn modelId="{176EF3CB-0987-4048-9BAE-857E155FD7C1}" type="presOf" srcId="{95E8DAAA-D467-F043-AB8D-436B044E6893}" destId="{F6E8553C-0507-4BAF-992A-6516F899CCA1}" srcOrd="1" destOrd="2" presId="urn:microsoft.com/office/officeart/2005/8/layout/vList4"/>
    <dgm:cxn modelId="{F76F6FC5-B5D0-4DDE-B8DE-E4017BADEA5D}" srcId="{624D51D0-33A2-45E0-9844-AF0C2441DCB8}" destId="{5FFEDFF1-022F-4A7C-B705-7E7CC9F543AA}" srcOrd="1" destOrd="0" parTransId="{F9C67A68-9E95-42B4-AAF5-4EF5AF864CF7}" sibTransId="{9FE78483-7D11-4B22-AF87-B966C1701BFC}"/>
    <dgm:cxn modelId="{194D71AE-5CC0-7A45-85BE-60E3D246DC7F}" type="presOf" srcId="{462EFF02-F847-449D-8EC0-E624F059CE38}" destId="{B268C9EE-462B-4E02-B6EC-52310DB389FF}" srcOrd="1" destOrd="0" presId="urn:microsoft.com/office/officeart/2005/8/layout/vList4"/>
    <dgm:cxn modelId="{ED044F47-E7B3-492B-A27A-E9BB8505B07C}" type="presOf" srcId="{D18D8E96-FBD3-40FE-81C1-E8243D6E961E}" destId="{C71603CF-BCA7-4CA1-B084-71445E2D27D5}" srcOrd="0" destOrd="0" presId="urn:microsoft.com/office/officeart/2005/8/layout/vList4"/>
    <dgm:cxn modelId="{00630E01-7CC3-45EB-BDE0-3FD77D5D48B6}" srcId="{D18D8E96-FBD3-40FE-81C1-E8243D6E961E}" destId="{ED58CC06-D311-4394-BB98-225B03E21DF4}" srcOrd="3" destOrd="0" parTransId="{621F4570-26E3-4C0E-834E-120AD7C4FB19}" sibTransId="{BDF9130A-F68B-4E07-8099-64E067316307}"/>
    <dgm:cxn modelId="{F9D8899A-BA07-5749-9921-CE43F9E0B63E}" type="presOf" srcId="{624D51D0-33A2-45E0-9844-AF0C2441DCB8}" destId="{7748A86C-B798-4D8D-8C4C-D6219D93FF61}" srcOrd="0" destOrd="0" presId="urn:microsoft.com/office/officeart/2005/8/layout/vList4"/>
    <dgm:cxn modelId="{90010EB4-4BAC-8E43-B7C0-D8ADB7D0B43E}" type="presOf" srcId="{03713AE8-B0A0-4EFD-B784-8F7C20787AEE}" destId="{F6E8553C-0507-4BAF-992A-6516F899CCA1}" srcOrd="1" destOrd="0" presId="urn:microsoft.com/office/officeart/2005/8/layout/vList4"/>
    <dgm:cxn modelId="{031F6D00-638F-C545-AB0E-2370C2290366}" type="presOf" srcId="{F56F79C2-A4A6-D342-9479-9F5935261CB6}" destId="{7748A86C-B798-4D8D-8C4C-D6219D93FF61}" srcOrd="0" destOrd="3" presId="urn:microsoft.com/office/officeart/2005/8/layout/vList4"/>
    <dgm:cxn modelId="{D753ADCB-A0D7-4AF1-80DB-52040F47830C}" srcId="{D18D8E96-FBD3-40FE-81C1-E8243D6E961E}" destId="{462EFF02-F847-449D-8EC0-E624F059CE38}" srcOrd="0" destOrd="0" parTransId="{3AF0E08C-DA1E-4C1E-90FA-91A598C5B455}" sibTransId="{27A23AC0-3F86-4EBB-913F-A8E0FAB75F00}"/>
    <dgm:cxn modelId="{A1A91066-4398-7B40-925C-B6E98E8385F8}" type="presOf" srcId="{5E075B6B-3D21-234E-AFB6-8737F697523F}" destId="{DC50BBF0-7D57-4291-ACC2-BE2B225F0F8C}" srcOrd="0" destOrd="1" presId="urn:microsoft.com/office/officeart/2005/8/layout/vList4"/>
    <dgm:cxn modelId="{9A5D132C-F0E1-494D-8DF6-D7553B8FE4E8}" type="presOf" srcId="{95E8DAAA-D467-F043-AB8D-436B044E6893}" destId="{DC50BBF0-7D57-4291-ACC2-BE2B225F0F8C}" srcOrd="0" destOrd="2" presId="urn:microsoft.com/office/officeart/2005/8/layout/vList4"/>
    <dgm:cxn modelId="{1EBE4719-AC19-40B5-B04D-05002399C0AD}" srcId="{D18D8E96-FBD3-40FE-81C1-E8243D6E961E}" destId="{03713AE8-B0A0-4EFD-B784-8F7C20787AEE}" srcOrd="2" destOrd="0" parTransId="{FBEA1000-5E1B-4C56-B30E-0CBF157F21A5}" sibTransId="{60F5C188-FE76-41B9-B2A1-6B7ADB50AE32}"/>
    <dgm:cxn modelId="{D4A446AC-F8CC-164F-82B2-2D032FB5CA3B}" type="presOf" srcId="{624D51D0-33A2-45E0-9844-AF0C2441DCB8}" destId="{A72EAAE7-262D-4378-B710-FA0FF50696AC}" srcOrd="1" destOrd="0" presId="urn:microsoft.com/office/officeart/2005/8/layout/vList4"/>
    <dgm:cxn modelId="{B3455B79-C011-C946-B9E0-37A33A34B9AE}" type="presOf" srcId="{5FFEDFF1-022F-4A7C-B705-7E7CC9F543AA}" destId="{A72EAAE7-262D-4378-B710-FA0FF50696AC}" srcOrd="1" destOrd="2" presId="urn:microsoft.com/office/officeart/2005/8/layout/vList4"/>
    <dgm:cxn modelId="{15A2C604-9EAF-BB48-83B7-E6A9BA1826AE}" type="presOf" srcId="{F56F79C2-A4A6-D342-9479-9F5935261CB6}" destId="{A72EAAE7-262D-4378-B710-FA0FF50696AC}" srcOrd="1" destOrd="3" presId="urn:microsoft.com/office/officeart/2005/8/layout/vList4"/>
    <dgm:cxn modelId="{6F033A4A-69E4-B54D-A55E-E7336D22808C}" type="presOf" srcId="{5FFEDFF1-022F-4A7C-B705-7E7CC9F543AA}" destId="{7748A86C-B798-4D8D-8C4C-D6219D93FF61}" srcOrd="0" destOrd="2" presId="urn:microsoft.com/office/officeart/2005/8/layout/vList4"/>
    <dgm:cxn modelId="{C1219A49-39D5-2445-B2C0-60CD5F048F1D}" type="presParOf" srcId="{C71603CF-BCA7-4CA1-B084-71445E2D27D5}" destId="{798386A5-F7DA-4321-A4DF-3356B3456838}" srcOrd="0" destOrd="0" presId="urn:microsoft.com/office/officeart/2005/8/layout/vList4"/>
    <dgm:cxn modelId="{D400557F-762C-B34F-AAD0-72277B5F77B0}" type="presParOf" srcId="{798386A5-F7DA-4321-A4DF-3356B3456838}" destId="{41A66B0B-F335-4549-A7E4-7DF7F8A44D62}" srcOrd="0" destOrd="0" presId="urn:microsoft.com/office/officeart/2005/8/layout/vList4"/>
    <dgm:cxn modelId="{080B245B-B132-F24A-923D-F4BE65C6420E}" type="presParOf" srcId="{798386A5-F7DA-4321-A4DF-3356B3456838}" destId="{E82FEDF0-E3BC-4213-A86A-631EB9A76EDC}" srcOrd="1" destOrd="0" presId="urn:microsoft.com/office/officeart/2005/8/layout/vList4"/>
    <dgm:cxn modelId="{B7930721-E52D-554D-B45E-3D2B5C67455E}" type="presParOf" srcId="{798386A5-F7DA-4321-A4DF-3356B3456838}" destId="{B268C9EE-462B-4E02-B6EC-52310DB389FF}" srcOrd="2" destOrd="0" presId="urn:microsoft.com/office/officeart/2005/8/layout/vList4"/>
    <dgm:cxn modelId="{59907AA1-C79A-0A4E-9C69-7F8EA5A9D909}" type="presParOf" srcId="{C71603CF-BCA7-4CA1-B084-71445E2D27D5}" destId="{BC0E8BDB-1201-4749-A095-96443656955F}" srcOrd="1" destOrd="0" presId="urn:microsoft.com/office/officeart/2005/8/layout/vList4"/>
    <dgm:cxn modelId="{21849EAD-D646-9A40-A811-6FA377101751}" type="presParOf" srcId="{C71603CF-BCA7-4CA1-B084-71445E2D27D5}" destId="{F4E48E8D-852F-4374-AD55-04A480C29EFB}" srcOrd="2" destOrd="0" presId="urn:microsoft.com/office/officeart/2005/8/layout/vList4"/>
    <dgm:cxn modelId="{1C1BC177-F8CC-5A4E-81A4-00C31536D674}" type="presParOf" srcId="{F4E48E8D-852F-4374-AD55-04A480C29EFB}" destId="{7748A86C-B798-4D8D-8C4C-D6219D93FF61}" srcOrd="0" destOrd="0" presId="urn:microsoft.com/office/officeart/2005/8/layout/vList4"/>
    <dgm:cxn modelId="{45AEE097-B499-5443-A852-CB6E5549FCEB}" type="presParOf" srcId="{F4E48E8D-852F-4374-AD55-04A480C29EFB}" destId="{12E15555-7682-4623-B455-A31BDE483525}" srcOrd="1" destOrd="0" presId="urn:microsoft.com/office/officeart/2005/8/layout/vList4"/>
    <dgm:cxn modelId="{5C8BE233-697A-A141-A7A8-C3D3CFFCE647}" type="presParOf" srcId="{F4E48E8D-852F-4374-AD55-04A480C29EFB}" destId="{A72EAAE7-262D-4378-B710-FA0FF50696AC}" srcOrd="2" destOrd="0" presId="urn:microsoft.com/office/officeart/2005/8/layout/vList4"/>
    <dgm:cxn modelId="{02224B21-78B0-5141-85E9-710B58EF7CA4}" type="presParOf" srcId="{C71603CF-BCA7-4CA1-B084-71445E2D27D5}" destId="{C9227B13-7E7B-40F3-883A-5FC45D0D23C1}" srcOrd="3" destOrd="0" presId="urn:microsoft.com/office/officeart/2005/8/layout/vList4"/>
    <dgm:cxn modelId="{8066E6AA-539B-5B40-B9AB-9C93F998CD04}" type="presParOf" srcId="{C71603CF-BCA7-4CA1-B084-71445E2D27D5}" destId="{44601A5B-C96F-4EC2-8DFF-52D599A5652B}" srcOrd="4" destOrd="0" presId="urn:microsoft.com/office/officeart/2005/8/layout/vList4"/>
    <dgm:cxn modelId="{DA2CBBA7-F446-7943-AB48-85A06D748520}" type="presParOf" srcId="{44601A5B-C96F-4EC2-8DFF-52D599A5652B}" destId="{DC50BBF0-7D57-4291-ACC2-BE2B225F0F8C}" srcOrd="0" destOrd="0" presId="urn:microsoft.com/office/officeart/2005/8/layout/vList4"/>
    <dgm:cxn modelId="{27F6CFC6-86A2-6B44-99E4-1BFB968D969E}" type="presParOf" srcId="{44601A5B-C96F-4EC2-8DFF-52D599A5652B}" destId="{B8B14BB2-DC8C-42C0-B56D-7BAB20E8CED6}" srcOrd="1" destOrd="0" presId="urn:microsoft.com/office/officeart/2005/8/layout/vList4"/>
    <dgm:cxn modelId="{824A3F60-DFBB-DA46-8A48-A3CC027DDFC6}" type="presParOf" srcId="{44601A5B-C96F-4EC2-8DFF-52D599A5652B}" destId="{F6E8553C-0507-4BAF-992A-6516F899CCA1}" srcOrd="2" destOrd="0" presId="urn:microsoft.com/office/officeart/2005/8/layout/vList4"/>
    <dgm:cxn modelId="{1B7A66A2-F02E-8647-B641-64192F6A55FD}" type="presParOf" srcId="{C71603CF-BCA7-4CA1-B084-71445E2D27D5}" destId="{5C54F308-5942-4DA4-B48F-F8FCACD75BFE}" srcOrd="5" destOrd="0" presId="urn:microsoft.com/office/officeart/2005/8/layout/vList4"/>
    <dgm:cxn modelId="{8F17F8CE-3813-4A4A-A67F-402E971CE5D9}" type="presParOf" srcId="{C71603CF-BCA7-4CA1-B084-71445E2D27D5}" destId="{ACDE39A7-E0F5-498B-B34D-0B2512484F81}" srcOrd="6" destOrd="0" presId="urn:microsoft.com/office/officeart/2005/8/layout/vList4"/>
    <dgm:cxn modelId="{D00C0846-AE28-BF40-8D01-B32C4BAC40CE}" type="presParOf" srcId="{ACDE39A7-E0F5-498B-B34D-0B2512484F81}" destId="{20A23B84-6B00-4907-9A66-D7291886432B}" srcOrd="0" destOrd="0" presId="urn:microsoft.com/office/officeart/2005/8/layout/vList4"/>
    <dgm:cxn modelId="{58D10697-7435-5243-96B5-C5FC9FB5749A}" type="presParOf" srcId="{ACDE39A7-E0F5-498B-B34D-0B2512484F81}" destId="{1E191B0D-3A6F-483E-B4C7-068639A62700}" srcOrd="1" destOrd="0" presId="urn:microsoft.com/office/officeart/2005/8/layout/vList4"/>
    <dgm:cxn modelId="{6FA0B4CB-BEFB-824A-9291-FCE45F0459D4}" type="presParOf" srcId="{ACDE39A7-E0F5-498B-B34D-0B2512484F81}" destId="{90425200-DB62-4A4E-B296-79E8E240E1C9}" srcOrd="2" destOrd="0" presId="urn:microsoft.com/office/officeart/2005/8/layout/vList4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CC0E819-066E-4E48-9D07-E5E283FAE22B}" type="doc">
      <dgm:prSet loTypeId="urn:microsoft.com/office/officeart/2005/8/layout/hList7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8DE2D2D-F9EC-4402-A17F-B79B2FE4210A}">
      <dgm:prSet phldrT="[Text]" custT="1"/>
      <dgm:spPr>
        <a:solidFill>
          <a:schemeClr val="tx1">
            <a:lumMod val="25000"/>
            <a:lumOff val="75000"/>
          </a:schemeClr>
        </a:solidFill>
      </dgm:spPr>
      <dgm:t>
        <a:bodyPr/>
        <a:lstStyle/>
        <a:p>
          <a:endParaRPr lang="en-US" sz="1400" b="1" dirty="0">
            <a:solidFill>
              <a:schemeClr val="tx2"/>
            </a:solidFill>
            <a:latin typeface="Century Gothic" pitchFamily="34" charset="0"/>
          </a:endParaRPr>
        </a:p>
        <a:p>
          <a:r>
            <a:rPr lang="en-US" sz="1400" b="1" dirty="0">
              <a:solidFill>
                <a:schemeClr val="tx2"/>
              </a:solidFill>
              <a:latin typeface="Century Gothic" pitchFamily="34" charset="0"/>
            </a:rPr>
            <a:t>Joined up Business Plans</a:t>
          </a:r>
        </a:p>
        <a:p>
          <a:r>
            <a:rPr lang="en-US" sz="1400" b="1" dirty="0">
              <a:solidFill>
                <a:schemeClr val="tx2"/>
              </a:solidFill>
              <a:latin typeface="Century Gothic" pitchFamily="34" charset="0"/>
            </a:rPr>
            <a:t>Sales competency development &amp; leadership compass</a:t>
          </a:r>
        </a:p>
        <a:p>
          <a:r>
            <a:rPr lang="en-US" sz="1400" b="1" dirty="0">
              <a:solidFill>
                <a:schemeClr val="tx2"/>
              </a:solidFill>
              <a:latin typeface="Century Gothic" pitchFamily="34" charset="0"/>
            </a:rPr>
            <a:t>Trading terms effectiveness</a:t>
          </a:r>
        </a:p>
        <a:p>
          <a:r>
            <a:rPr lang="en-US" sz="1400" b="1" dirty="0">
              <a:solidFill>
                <a:schemeClr val="tx2"/>
              </a:solidFill>
              <a:latin typeface="Century Gothic" pitchFamily="34" charset="0"/>
            </a:rPr>
            <a:t>Trade Marketing best practice</a:t>
          </a:r>
        </a:p>
        <a:p>
          <a:r>
            <a:rPr lang="en-US" sz="1400" b="1" dirty="0">
              <a:solidFill>
                <a:schemeClr val="tx2"/>
              </a:solidFill>
              <a:latin typeface="Century Gothic" pitchFamily="34" charset="0"/>
            </a:rPr>
            <a:t>Export </a:t>
          </a:r>
          <a:r>
            <a:rPr lang="en-US" sz="1400" b="1" dirty="0" smtClean="0">
              <a:solidFill>
                <a:schemeClr val="tx2"/>
              </a:solidFill>
              <a:latin typeface="Century Gothic" pitchFamily="34" charset="0"/>
            </a:rPr>
            <a:t>strategy</a:t>
          </a:r>
        </a:p>
        <a:p>
          <a:r>
            <a:rPr lang="en-US" sz="1400" b="1" dirty="0" smtClean="0">
              <a:solidFill>
                <a:schemeClr val="tx2"/>
              </a:solidFill>
              <a:latin typeface="Century Gothic" pitchFamily="34" charset="0"/>
            </a:rPr>
            <a:t>Route to Customer</a:t>
          </a:r>
          <a:endParaRPr lang="en-US" sz="1400" b="1" dirty="0">
            <a:solidFill>
              <a:schemeClr val="tx2"/>
            </a:solidFill>
            <a:latin typeface="Century Gothic" pitchFamily="34" charset="0"/>
          </a:endParaRPr>
        </a:p>
        <a:p>
          <a:endParaRPr lang="en-AU" sz="1400" dirty="0"/>
        </a:p>
      </dgm:t>
    </dgm:pt>
    <dgm:pt modelId="{BAE4C1DA-D8F0-4E9A-845D-4F1FF36A6097}" type="parTrans" cxnId="{190979EB-1099-4B4F-8BB8-A02D3B15C43A}">
      <dgm:prSet/>
      <dgm:spPr/>
      <dgm:t>
        <a:bodyPr/>
        <a:lstStyle/>
        <a:p>
          <a:endParaRPr lang="en-AU" sz="1600">
            <a:latin typeface="Century Gothic" pitchFamily="34" charset="0"/>
          </a:endParaRPr>
        </a:p>
      </dgm:t>
    </dgm:pt>
    <dgm:pt modelId="{4B2DB36A-D8A4-421A-98B2-B7F154008AA6}" type="sibTrans" cxnId="{190979EB-1099-4B4F-8BB8-A02D3B15C43A}">
      <dgm:prSet/>
      <dgm:spPr/>
      <dgm:t>
        <a:bodyPr/>
        <a:lstStyle/>
        <a:p>
          <a:endParaRPr lang="en-AU" sz="1600">
            <a:latin typeface="Century Gothic" pitchFamily="34" charset="0"/>
          </a:endParaRPr>
        </a:p>
      </dgm:t>
    </dgm:pt>
    <dgm:pt modelId="{439337AC-CCE4-470E-9073-E1D65242A8EE}">
      <dgm:prSet phldrT="[Text]" custT="1"/>
      <dgm:spPr/>
      <dgm:t>
        <a:bodyPr/>
        <a:lstStyle/>
        <a:p>
          <a:r>
            <a:rPr lang="en-AU" sz="1400" b="1" dirty="0">
              <a:latin typeface="Century Gothic" pitchFamily="34" charset="0"/>
            </a:rPr>
            <a:t>Liquor industry strategy &amp; client alignment</a:t>
          </a:r>
        </a:p>
        <a:p>
          <a:r>
            <a:rPr lang="en-AU" sz="1400" b="1" dirty="0">
              <a:latin typeface="Century Gothic" pitchFamily="34" charset="0"/>
            </a:rPr>
            <a:t>Business Development strategy</a:t>
          </a:r>
        </a:p>
      </dgm:t>
    </dgm:pt>
    <dgm:pt modelId="{14ABC604-B3B0-42D5-BD74-AF470C553BEA}" type="parTrans" cxnId="{C21020E1-E587-4B49-95B5-BB38D93DDDD3}">
      <dgm:prSet/>
      <dgm:spPr/>
      <dgm:t>
        <a:bodyPr/>
        <a:lstStyle/>
        <a:p>
          <a:endParaRPr lang="en-AU" sz="1600">
            <a:latin typeface="Century Gothic" pitchFamily="34" charset="0"/>
          </a:endParaRPr>
        </a:p>
      </dgm:t>
    </dgm:pt>
    <dgm:pt modelId="{B23B39FE-DBFA-4646-ABCE-79CA5ADCE608}" type="sibTrans" cxnId="{C21020E1-E587-4B49-95B5-BB38D93DDDD3}">
      <dgm:prSet/>
      <dgm:spPr/>
      <dgm:t>
        <a:bodyPr/>
        <a:lstStyle/>
        <a:p>
          <a:endParaRPr lang="en-AU" sz="1600">
            <a:latin typeface="Century Gothic" pitchFamily="34" charset="0"/>
          </a:endParaRPr>
        </a:p>
      </dgm:t>
    </dgm:pt>
    <dgm:pt modelId="{DFA23406-3C49-413C-A4F9-A4C90BD9CB3D}">
      <dgm:prSet phldrT="[Text]" custT="1"/>
      <dgm:spPr>
        <a:solidFill>
          <a:schemeClr val="tx1">
            <a:lumMod val="25000"/>
            <a:lumOff val="75000"/>
          </a:schemeClr>
        </a:solidFill>
      </dgm:spPr>
      <dgm:t>
        <a:bodyPr lIns="36000" rIns="36000"/>
        <a:lstStyle/>
        <a:p>
          <a:r>
            <a:rPr lang="en-AU" sz="1400" b="1" dirty="0">
              <a:solidFill>
                <a:srgbClr val="000000"/>
              </a:solidFill>
              <a:latin typeface="Century Gothic" pitchFamily="34" charset="0"/>
            </a:rPr>
            <a:t>Global market and consumer insights review</a:t>
          </a:r>
        </a:p>
      </dgm:t>
    </dgm:pt>
    <dgm:pt modelId="{243EF3AF-43FA-45E3-9C49-B6774A9D594D}" type="parTrans" cxnId="{1668F068-23E0-48B4-A674-FB7AD2B6E67F}">
      <dgm:prSet/>
      <dgm:spPr/>
      <dgm:t>
        <a:bodyPr/>
        <a:lstStyle/>
        <a:p>
          <a:endParaRPr lang="en-AU" sz="1600">
            <a:latin typeface="Century Gothic" pitchFamily="34" charset="0"/>
          </a:endParaRPr>
        </a:p>
      </dgm:t>
    </dgm:pt>
    <dgm:pt modelId="{633A1C80-3770-468D-9E45-4ABD97F04C67}" type="sibTrans" cxnId="{1668F068-23E0-48B4-A674-FB7AD2B6E67F}">
      <dgm:prSet/>
      <dgm:spPr/>
      <dgm:t>
        <a:bodyPr/>
        <a:lstStyle/>
        <a:p>
          <a:endParaRPr lang="en-AU" sz="1600">
            <a:latin typeface="Century Gothic" pitchFamily="34" charset="0"/>
          </a:endParaRPr>
        </a:p>
      </dgm:t>
    </dgm:pt>
    <dgm:pt modelId="{A70677E8-17CD-4658-AD35-AA6FA274A434}" type="pres">
      <dgm:prSet presAssocID="{7CC0E819-066E-4E48-9D07-E5E283FAE22B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6E89818A-890C-4ABD-BE9D-FD97763AB117}" type="pres">
      <dgm:prSet presAssocID="{7CC0E819-066E-4E48-9D07-E5E283FAE22B}" presName="fgShape" presStyleLbl="fgShp" presStyleIdx="0" presStyleCnt="1" custScaleX="104431" custLinFactNeighborX="-23" custLinFactNeighborY="12304"/>
      <dgm:spPr/>
    </dgm:pt>
    <dgm:pt modelId="{5E822543-933A-4260-B446-F4F9DB6ABBD2}" type="pres">
      <dgm:prSet presAssocID="{7CC0E819-066E-4E48-9D07-E5E283FAE22B}" presName="linComp" presStyleCnt="0"/>
      <dgm:spPr/>
    </dgm:pt>
    <dgm:pt modelId="{99CA2609-6688-4FDE-A8D4-5C505D87B6F3}" type="pres">
      <dgm:prSet presAssocID="{38DE2D2D-F9EC-4402-A17F-B79B2FE4210A}" presName="compNode" presStyleCnt="0"/>
      <dgm:spPr/>
    </dgm:pt>
    <dgm:pt modelId="{B96793EE-2D26-4637-BA20-EBCEC7615CA5}" type="pres">
      <dgm:prSet presAssocID="{38DE2D2D-F9EC-4402-A17F-B79B2FE4210A}" presName="bkgdShape" presStyleLbl="node1" presStyleIdx="0" presStyleCnt="3"/>
      <dgm:spPr/>
      <dgm:t>
        <a:bodyPr/>
        <a:lstStyle/>
        <a:p>
          <a:endParaRPr lang="en-US"/>
        </a:p>
      </dgm:t>
    </dgm:pt>
    <dgm:pt modelId="{983A3604-5E2F-43D5-AB7B-844CDCAB77B4}" type="pres">
      <dgm:prSet presAssocID="{38DE2D2D-F9EC-4402-A17F-B79B2FE4210A}" presName="nodeTx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19F9350-76FC-47BE-86EE-CDAEF8C6A45A}" type="pres">
      <dgm:prSet presAssocID="{38DE2D2D-F9EC-4402-A17F-B79B2FE4210A}" presName="invisiNode" presStyleLbl="node1" presStyleIdx="0" presStyleCnt="3"/>
      <dgm:spPr/>
    </dgm:pt>
    <dgm:pt modelId="{EBCA9FA6-F21A-44EB-8956-13F4F4C31927}" type="pres">
      <dgm:prSet presAssocID="{38DE2D2D-F9EC-4402-A17F-B79B2FE4210A}" presName="imagNode" presStyleLbl="fgImgPlace1" presStyleIdx="0" presStyleCnt="3" custScaleY="100000"/>
      <dgm:spPr>
        <a:blipFill rotWithShape="1">
          <a:blip xmlns:r="http://schemas.openxmlformats.org/officeDocument/2006/relationships" r:embed="rId1"/>
          <a:srcRect/>
          <a:stretch>
            <a:fillRect l="-45000" r="-45000"/>
          </a:stretch>
        </a:blipFill>
      </dgm:spPr>
    </dgm:pt>
    <dgm:pt modelId="{430308BF-FC47-4712-AC17-9AD3C9D4993D}" type="pres">
      <dgm:prSet presAssocID="{4B2DB36A-D8A4-421A-98B2-B7F154008AA6}" presName="sibTrans" presStyleLbl="sibTrans2D1" presStyleIdx="0" presStyleCnt="0"/>
      <dgm:spPr/>
      <dgm:t>
        <a:bodyPr/>
        <a:lstStyle/>
        <a:p>
          <a:endParaRPr lang="en-US"/>
        </a:p>
      </dgm:t>
    </dgm:pt>
    <dgm:pt modelId="{0E202C8C-7E95-42F5-A96D-0C6340155691}" type="pres">
      <dgm:prSet presAssocID="{439337AC-CCE4-470E-9073-E1D65242A8EE}" presName="compNode" presStyleCnt="0"/>
      <dgm:spPr/>
    </dgm:pt>
    <dgm:pt modelId="{EA1FBA5F-F158-49AA-9F18-E72E206E0CD4}" type="pres">
      <dgm:prSet presAssocID="{439337AC-CCE4-470E-9073-E1D65242A8EE}" presName="bkgdShape" presStyleLbl="node1" presStyleIdx="1" presStyleCnt="3"/>
      <dgm:spPr/>
      <dgm:t>
        <a:bodyPr/>
        <a:lstStyle/>
        <a:p>
          <a:endParaRPr lang="en-US"/>
        </a:p>
      </dgm:t>
    </dgm:pt>
    <dgm:pt modelId="{50629654-5BBA-4113-A391-4990B2DDA68E}" type="pres">
      <dgm:prSet presAssocID="{439337AC-CCE4-470E-9073-E1D65242A8EE}" presName="nodeTx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B2FE2F3-66EA-4C62-8F25-7CC9CAB95797}" type="pres">
      <dgm:prSet presAssocID="{439337AC-CCE4-470E-9073-E1D65242A8EE}" presName="invisiNode" presStyleLbl="node1" presStyleIdx="1" presStyleCnt="3"/>
      <dgm:spPr/>
    </dgm:pt>
    <dgm:pt modelId="{FAF92DCF-8234-4BBD-A13F-350498AE6E98}" type="pres">
      <dgm:prSet presAssocID="{439337AC-CCE4-470E-9073-E1D65242A8EE}" presName="imagNode" presStyleLbl="fgImgPlace1" presStyleIdx="1" presStyleCnt="3"/>
      <dgm:spPr>
        <a:blipFill rotWithShape="1">
          <a:blip xmlns:r="http://schemas.openxmlformats.org/officeDocument/2006/relationships" r:embed="rId2"/>
          <a:srcRect/>
          <a:stretch>
            <a:fillRect/>
          </a:stretch>
        </a:blipFill>
      </dgm:spPr>
    </dgm:pt>
    <dgm:pt modelId="{8B7A591D-4946-427E-9848-B51928EA382C}" type="pres">
      <dgm:prSet presAssocID="{B23B39FE-DBFA-4646-ABCE-79CA5ADCE608}" presName="sibTrans" presStyleLbl="sibTrans2D1" presStyleIdx="0" presStyleCnt="0"/>
      <dgm:spPr/>
      <dgm:t>
        <a:bodyPr/>
        <a:lstStyle/>
        <a:p>
          <a:endParaRPr lang="en-US"/>
        </a:p>
      </dgm:t>
    </dgm:pt>
    <dgm:pt modelId="{9B2CB1D6-3BB1-4562-BC55-68E1C3A668A6}" type="pres">
      <dgm:prSet presAssocID="{DFA23406-3C49-413C-A4F9-A4C90BD9CB3D}" presName="compNode" presStyleCnt="0"/>
      <dgm:spPr/>
    </dgm:pt>
    <dgm:pt modelId="{529D770E-98CE-48B7-9A46-6508816FF201}" type="pres">
      <dgm:prSet presAssocID="{DFA23406-3C49-413C-A4F9-A4C90BD9CB3D}" presName="bkgdShape" presStyleLbl="node1" presStyleIdx="2" presStyleCnt="3"/>
      <dgm:spPr/>
      <dgm:t>
        <a:bodyPr/>
        <a:lstStyle/>
        <a:p>
          <a:endParaRPr lang="en-US"/>
        </a:p>
      </dgm:t>
    </dgm:pt>
    <dgm:pt modelId="{9BBEC2C1-394B-4B03-8D77-16894B0EFD59}" type="pres">
      <dgm:prSet presAssocID="{DFA23406-3C49-413C-A4F9-A4C90BD9CB3D}" presName="nodeTx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BA382A1-2AC8-4D7A-BA96-3D688648D48E}" type="pres">
      <dgm:prSet presAssocID="{DFA23406-3C49-413C-A4F9-A4C90BD9CB3D}" presName="invisiNode" presStyleLbl="node1" presStyleIdx="2" presStyleCnt="3"/>
      <dgm:spPr/>
    </dgm:pt>
    <dgm:pt modelId="{BA00F5EA-C016-4423-972E-D04F4C516FAA}" type="pres">
      <dgm:prSet presAssocID="{DFA23406-3C49-413C-A4F9-A4C90BD9CB3D}" presName="imagNode" presStyleLbl="fgImgPlace1" presStyleIdx="2" presStyleCnt="3" custScaleY="90910" custLinFactNeighborY="-1933"/>
      <dgm:spPr>
        <a:solidFill>
          <a:schemeClr val="bg1"/>
        </a:solidFill>
      </dgm:spPr>
    </dgm:pt>
  </dgm:ptLst>
  <dgm:cxnLst>
    <dgm:cxn modelId="{190979EB-1099-4B4F-8BB8-A02D3B15C43A}" srcId="{7CC0E819-066E-4E48-9D07-E5E283FAE22B}" destId="{38DE2D2D-F9EC-4402-A17F-B79B2FE4210A}" srcOrd="0" destOrd="0" parTransId="{BAE4C1DA-D8F0-4E9A-845D-4F1FF36A6097}" sibTransId="{4B2DB36A-D8A4-421A-98B2-B7F154008AA6}"/>
    <dgm:cxn modelId="{C21020E1-E587-4B49-95B5-BB38D93DDDD3}" srcId="{7CC0E819-066E-4E48-9D07-E5E283FAE22B}" destId="{439337AC-CCE4-470E-9073-E1D65242A8EE}" srcOrd="1" destOrd="0" parTransId="{14ABC604-B3B0-42D5-BD74-AF470C553BEA}" sibTransId="{B23B39FE-DBFA-4646-ABCE-79CA5ADCE608}"/>
    <dgm:cxn modelId="{85545401-331C-4EE7-BA85-759B8FAD6051}" type="presOf" srcId="{DFA23406-3C49-413C-A4F9-A4C90BD9CB3D}" destId="{529D770E-98CE-48B7-9A46-6508816FF201}" srcOrd="0" destOrd="0" presId="urn:microsoft.com/office/officeart/2005/8/layout/hList7"/>
    <dgm:cxn modelId="{9377B659-F0A7-41C4-9310-C3B8BB305CD9}" type="presOf" srcId="{38DE2D2D-F9EC-4402-A17F-B79B2FE4210A}" destId="{983A3604-5E2F-43D5-AB7B-844CDCAB77B4}" srcOrd="1" destOrd="0" presId="urn:microsoft.com/office/officeart/2005/8/layout/hList7"/>
    <dgm:cxn modelId="{483554CE-F7FD-40E4-AF46-9DEB653622FC}" type="presOf" srcId="{DFA23406-3C49-413C-A4F9-A4C90BD9CB3D}" destId="{9BBEC2C1-394B-4B03-8D77-16894B0EFD59}" srcOrd="1" destOrd="0" presId="urn:microsoft.com/office/officeart/2005/8/layout/hList7"/>
    <dgm:cxn modelId="{89AA24AE-692A-4241-A4A4-932218613F9A}" type="presOf" srcId="{439337AC-CCE4-470E-9073-E1D65242A8EE}" destId="{50629654-5BBA-4113-A391-4990B2DDA68E}" srcOrd="1" destOrd="0" presId="urn:microsoft.com/office/officeart/2005/8/layout/hList7"/>
    <dgm:cxn modelId="{F89C0B26-3322-4E93-8A37-DFE8925DEC26}" type="presOf" srcId="{439337AC-CCE4-470E-9073-E1D65242A8EE}" destId="{EA1FBA5F-F158-49AA-9F18-E72E206E0CD4}" srcOrd="0" destOrd="0" presId="urn:microsoft.com/office/officeart/2005/8/layout/hList7"/>
    <dgm:cxn modelId="{D434FF61-0665-4EE2-940A-4506FA6FC764}" type="presOf" srcId="{38DE2D2D-F9EC-4402-A17F-B79B2FE4210A}" destId="{B96793EE-2D26-4637-BA20-EBCEC7615CA5}" srcOrd="0" destOrd="0" presId="urn:microsoft.com/office/officeart/2005/8/layout/hList7"/>
    <dgm:cxn modelId="{CB2F7F05-2DAF-4D00-A7E4-643AF40CEC74}" type="presOf" srcId="{7CC0E819-066E-4E48-9D07-E5E283FAE22B}" destId="{A70677E8-17CD-4658-AD35-AA6FA274A434}" srcOrd="0" destOrd="0" presId="urn:microsoft.com/office/officeart/2005/8/layout/hList7"/>
    <dgm:cxn modelId="{7274F84C-ED39-4494-95BF-72C0BA0A9A22}" type="presOf" srcId="{4B2DB36A-D8A4-421A-98B2-B7F154008AA6}" destId="{430308BF-FC47-4712-AC17-9AD3C9D4993D}" srcOrd="0" destOrd="0" presId="urn:microsoft.com/office/officeart/2005/8/layout/hList7"/>
    <dgm:cxn modelId="{1668F068-23E0-48B4-A674-FB7AD2B6E67F}" srcId="{7CC0E819-066E-4E48-9D07-E5E283FAE22B}" destId="{DFA23406-3C49-413C-A4F9-A4C90BD9CB3D}" srcOrd="2" destOrd="0" parTransId="{243EF3AF-43FA-45E3-9C49-B6774A9D594D}" sibTransId="{633A1C80-3770-468D-9E45-4ABD97F04C67}"/>
    <dgm:cxn modelId="{CC934E23-4FCF-405A-ADD2-675B641C3C90}" type="presOf" srcId="{B23B39FE-DBFA-4646-ABCE-79CA5ADCE608}" destId="{8B7A591D-4946-427E-9848-B51928EA382C}" srcOrd="0" destOrd="0" presId="urn:microsoft.com/office/officeart/2005/8/layout/hList7"/>
    <dgm:cxn modelId="{48A2D595-EC18-4014-BB1B-0717C667CFDF}" type="presParOf" srcId="{A70677E8-17CD-4658-AD35-AA6FA274A434}" destId="{6E89818A-890C-4ABD-BE9D-FD97763AB117}" srcOrd="0" destOrd="0" presId="urn:microsoft.com/office/officeart/2005/8/layout/hList7"/>
    <dgm:cxn modelId="{466C684B-4B0E-4643-A0F4-36F45D2E5D6E}" type="presParOf" srcId="{A70677E8-17CD-4658-AD35-AA6FA274A434}" destId="{5E822543-933A-4260-B446-F4F9DB6ABBD2}" srcOrd="1" destOrd="0" presId="urn:microsoft.com/office/officeart/2005/8/layout/hList7"/>
    <dgm:cxn modelId="{7FD6A88A-772B-47A3-B0AF-22E10185FD3A}" type="presParOf" srcId="{5E822543-933A-4260-B446-F4F9DB6ABBD2}" destId="{99CA2609-6688-4FDE-A8D4-5C505D87B6F3}" srcOrd="0" destOrd="0" presId="urn:microsoft.com/office/officeart/2005/8/layout/hList7"/>
    <dgm:cxn modelId="{64CD02AF-BB62-4204-8C8E-F7A7CC3C369D}" type="presParOf" srcId="{99CA2609-6688-4FDE-A8D4-5C505D87B6F3}" destId="{B96793EE-2D26-4637-BA20-EBCEC7615CA5}" srcOrd="0" destOrd="0" presId="urn:microsoft.com/office/officeart/2005/8/layout/hList7"/>
    <dgm:cxn modelId="{132BFFB5-CFF2-4165-8405-D1A7526CD675}" type="presParOf" srcId="{99CA2609-6688-4FDE-A8D4-5C505D87B6F3}" destId="{983A3604-5E2F-43D5-AB7B-844CDCAB77B4}" srcOrd="1" destOrd="0" presId="urn:microsoft.com/office/officeart/2005/8/layout/hList7"/>
    <dgm:cxn modelId="{EE3AF35C-C18A-4C6C-A930-B63B237A09B6}" type="presParOf" srcId="{99CA2609-6688-4FDE-A8D4-5C505D87B6F3}" destId="{A19F9350-76FC-47BE-86EE-CDAEF8C6A45A}" srcOrd="2" destOrd="0" presId="urn:microsoft.com/office/officeart/2005/8/layout/hList7"/>
    <dgm:cxn modelId="{3E5D1936-B750-47EC-8441-F7C9853DF181}" type="presParOf" srcId="{99CA2609-6688-4FDE-A8D4-5C505D87B6F3}" destId="{EBCA9FA6-F21A-44EB-8956-13F4F4C31927}" srcOrd="3" destOrd="0" presId="urn:microsoft.com/office/officeart/2005/8/layout/hList7"/>
    <dgm:cxn modelId="{11BB6C02-A4C5-4C15-860F-564006DE6FB3}" type="presParOf" srcId="{5E822543-933A-4260-B446-F4F9DB6ABBD2}" destId="{430308BF-FC47-4712-AC17-9AD3C9D4993D}" srcOrd="1" destOrd="0" presId="urn:microsoft.com/office/officeart/2005/8/layout/hList7"/>
    <dgm:cxn modelId="{97FA1D9F-558A-4E87-BA88-9E1D2751A24B}" type="presParOf" srcId="{5E822543-933A-4260-B446-F4F9DB6ABBD2}" destId="{0E202C8C-7E95-42F5-A96D-0C6340155691}" srcOrd="2" destOrd="0" presId="urn:microsoft.com/office/officeart/2005/8/layout/hList7"/>
    <dgm:cxn modelId="{2DA57178-A33B-4E3F-9B99-92D475E13798}" type="presParOf" srcId="{0E202C8C-7E95-42F5-A96D-0C6340155691}" destId="{EA1FBA5F-F158-49AA-9F18-E72E206E0CD4}" srcOrd="0" destOrd="0" presId="urn:microsoft.com/office/officeart/2005/8/layout/hList7"/>
    <dgm:cxn modelId="{061B0DA1-054B-4D29-8F7F-B021ED667C80}" type="presParOf" srcId="{0E202C8C-7E95-42F5-A96D-0C6340155691}" destId="{50629654-5BBA-4113-A391-4990B2DDA68E}" srcOrd="1" destOrd="0" presId="urn:microsoft.com/office/officeart/2005/8/layout/hList7"/>
    <dgm:cxn modelId="{8E7AA9DC-C57C-43EC-8A48-FC0D5FC610A7}" type="presParOf" srcId="{0E202C8C-7E95-42F5-A96D-0C6340155691}" destId="{5B2FE2F3-66EA-4C62-8F25-7CC9CAB95797}" srcOrd="2" destOrd="0" presId="urn:microsoft.com/office/officeart/2005/8/layout/hList7"/>
    <dgm:cxn modelId="{6796789A-7C19-415D-A36C-A21DF1E958CE}" type="presParOf" srcId="{0E202C8C-7E95-42F5-A96D-0C6340155691}" destId="{FAF92DCF-8234-4BBD-A13F-350498AE6E98}" srcOrd="3" destOrd="0" presId="urn:microsoft.com/office/officeart/2005/8/layout/hList7"/>
    <dgm:cxn modelId="{6EC775B1-4AF1-4DC5-8F60-EB443B07613A}" type="presParOf" srcId="{5E822543-933A-4260-B446-F4F9DB6ABBD2}" destId="{8B7A591D-4946-427E-9848-B51928EA382C}" srcOrd="3" destOrd="0" presId="urn:microsoft.com/office/officeart/2005/8/layout/hList7"/>
    <dgm:cxn modelId="{DB27B71E-B67E-4312-AFE9-A277DBF49177}" type="presParOf" srcId="{5E822543-933A-4260-B446-F4F9DB6ABBD2}" destId="{9B2CB1D6-3BB1-4562-BC55-68E1C3A668A6}" srcOrd="4" destOrd="0" presId="urn:microsoft.com/office/officeart/2005/8/layout/hList7"/>
    <dgm:cxn modelId="{1F647887-6BF8-419F-9BC0-BC95002D4F43}" type="presParOf" srcId="{9B2CB1D6-3BB1-4562-BC55-68E1C3A668A6}" destId="{529D770E-98CE-48B7-9A46-6508816FF201}" srcOrd="0" destOrd="0" presId="urn:microsoft.com/office/officeart/2005/8/layout/hList7"/>
    <dgm:cxn modelId="{C067F384-CBA0-4B0D-9D9D-00E7E5812443}" type="presParOf" srcId="{9B2CB1D6-3BB1-4562-BC55-68E1C3A668A6}" destId="{9BBEC2C1-394B-4B03-8D77-16894B0EFD59}" srcOrd="1" destOrd="0" presId="urn:microsoft.com/office/officeart/2005/8/layout/hList7"/>
    <dgm:cxn modelId="{E66F5FF0-D847-49B4-88DF-BFCF6126AD50}" type="presParOf" srcId="{9B2CB1D6-3BB1-4562-BC55-68E1C3A668A6}" destId="{4BA382A1-2AC8-4D7A-BA96-3D688648D48E}" srcOrd="2" destOrd="0" presId="urn:microsoft.com/office/officeart/2005/8/layout/hList7"/>
    <dgm:cxn modelId="{433DB8CB-1BC8-4E78-9B63-B12D70562521}" type="presParOf" srcId="{9B2CB1D6-3BB1-4562-BC55-68E1C3A668A6}" destId="{BA00F5EA-C016-4423-972E-D04F4C516FAA}" srcOrd="3" destOrd="0" presId="urn:microsoft.com/office/officeart/2005/8/layout/hList7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1A66B0B-F335-4549-A7E4-7DF7F8A44D62}">
      <dsp:nvSpPr>
        <dsp:cNvPr id="0" name=""/>
        <dsp:cNvSpPr/>
      </dsp:nvSpPr>
      <dsp:spPr>
        <a:xfrm>
          <a:off x="0" y="0"/>
          <a:ext cx="8064500" cy="123857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AU" sz="1600" b="1" kern="1200" dirty="0">
              <a:latin typeface="Century Gothic" pitchFamily="34" charset="0"/>
            </a:rPr>
            <a:t>Business and functional strategy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AU" sz="1400" kern="1200" dirty="0">
              <a:latin typeface="Century Gothic" pitchFamily="34" charset="0"/>
            </a:rPr>
            <a:t>   Strategic </a:t>
          </a:r>
          <a:r>
            <a:rPr lang="en-AU" sz="1400" kern="1200" dirty="0" smtClean="0">
              <a:latin typeface="Century Gothic" pitchFamily="34" charset="0"/>
            </a:rPr>
            <a:t>Vision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AU" sz="1400" kern="1200" dirty="0" smtClean="0">
              <a:latin typeface="Century Gothic" pitchFamily="34" charset="0"/>
            </a:rPr>
            <a:t>   Transformational change</a:t>
          </a:r>
          <a:endParaRPr lang="en-AU" sz="1400" kern="1200" dirty="0">
            <a:latin typeface="Century Gothic" pitchFamily="34" charset="0"/>
          </a:endParaRP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AU" sz="1400" kern="1200" dirty="0">
              <a:latin typeface="Century Gothic" pitchFamily="34" charset="0"/>
            </a:rPr>
            <a:t>   Coaching High Performing teams</a:t>
          </a:r>
        </a:p>
      </dsp:txBody>
      <dsp:txXfrm>
        <a:off x="1736757" y="0"/>
        <a:ext cx="6327742" cy="1238579"/>
      </dsp:txXfrm>
    </dsp:sp>
    <dsp:sp modelId="{E82FEDF0-E3BC-4213-A86A-631EB9A76EDC}">
      <dsp:nvSpPr>
        <dsp:cNvPr id="0" name=""/>
        <dsp:cNvSpPr/>
      </dsp:nvSpPr>
      <dsp:spPr>
        <a:xfrm>
          <a:off x="123857" y="123857"/>
          <a:ext cx="1612900" cy="990863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1"/>
          <a:srcRect/>
          <a:stretch>
            <a:fillRect t="-11000" b="-11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748A86C-B798-4D8D-8C4C-D6219D93FF61}">
      <dsp:nvSpPr>
        <dsp:cNvPr id="0" name=""/>
        <dsp:cNvSpPr/>
      </dsp:nvSpPr>
      <dsp:spPr>
        <a:xfrm>
          <a:off x="0" y="1321539"/>
          <a:ext cx="8064500" cy="123857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AU" sz="1600" b="1" kern="1200" dirty="0">
              <a:latin typeface="Century Gothic" pitchFamily="34" charset="0"/>
            </a:rPr>
            <a:t>Customer alignment and engagement</a:t>
          </a:r>
        </a:p>
        <a:p>
          <a:pPr marL="177800" lvl="1" indent="-1778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AU" sz="1400" kern="1200" dirty="0">
              <a:latin typeface="Century Gothic" pitchFamily="34" charset="0"/>
            </a:rPr>
            <a:t>Joined up business </a:t>
          </a:r>
          <a:r>
            <a:rPr lang="en-AU" sz="1400" kern="1200" dirty="0" smtClean="0">
              <a:latin typeface="Century Gothic" pitchFamily="34" charset="0"/>
            </a:rPr>
            <a:t>plans and terms effectiveness</a:t>
          </a:r>
          <a:endParaRPr lang="en-AU" sz="1400" kern="1200" dirty="0">
            <a:latin typeface="Century Gothic" pitchFamily="34" charset="0"/>
          </a:endParaRPr>
        </a:p>
        <a:p>
          <a:pPr marL="177800" lvl="1" indent="-1778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AU" sz="1400" kern="1200" dirty="0">
              <a:latin typeface="Century Gothic" pitchFamily="34" charset="0"/>
            </a:rPr>
            <a:t>Key Account Management</a:t>
          </a:r>
        </a:p>
        <a:p>
          <a:pPr marL="177800" lvl="1" indent="-1778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AU" sz="1400" kern="1200" dirty="0" smtClean="0">
              <a:latin typeface="Century Gothic" pitchFamily="34" charset="0"/>
            </a:rPr>
            <a:t>Go to Mkt Strategies and Execution</a:t>
          </a:r>
          <a:endParaRPr lang="en-AU" sz="1400" kern="1200" dirty="0">
            <a:latin typeface="Century Gothic" pitchFamily="34" charset="0"/>
          </a:endParaRPr>
        </a:p>
      </dsp:txBody>
      <dsp:txXfrm>
        <a:off x="1736757" y="1321539"/>
        <a:ext cx="6327742" cy="1238579"/>
      </dsp:txXfrm>
    </dsp:sp>
    <dsp:sp modelId="{12E15555-7682-4623-B455-A31BDE483525}">
      <dsp:nvSpPr>
        <dsp:cNvPr id="0" name=""/>
        <dsp:cNvSpPr/>
      </dsp:nvSpPr>
      <dsp:spPr>
        <a:xfrm>
          <a:off x="123857" y="1448186"/>
          <a:ext cx="1612900" cy="990863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2"/>
          <a:srcRect/>
          <a:stretch>
            <a:fillRect t="-6000" b="-6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C50BBF0-7D57-4291-ACC2-BE2B225F0F8C}">
      <dsp:nvSpPr>
        <dsp:cNvPr id="0" name=""/>
        <dsp:cNvSpPr/>
      </dsp:nvSpPr>
      <dsp:spPr>
        <a:xfrm>
          <a:off x="0" y="2637158"/>
          <a:ext cx="8064500" cy="123857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AU" sz="1600" b="1" kern="1200" dirty="0" smtClean="0">
              <a:latin typeface="Century Gothic" pitchFamily="34" charset="0"/>
            </a:rPr>
            <a:t>Consumer </a:t>
          </a:r>
          <a:r>
            <a:rPr lang="en-AU" sz="1600" b="1" kern="1200" dirty="0">
              <a:latin typeface="Century Gothic" pitchFamily="34" charset="0"/>
            </a:rPr>
            <a:t>connection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AU" sz="1400" kern="1200" dirty="0">
              <a:latin typeface="Century Gothic" pitchFamily="34" charset="0"/>
            </a:rPr>
            <a:t> Category Management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AU" sz="1400" kern="1200" dirty="0">
              <a:latin typeface="Century Gothic" pitchFamily="34" charset="0"/>
            </a:rPr>
            <a:t> </a:t>
          </a:r>
          <a:r>
            <a:rPr lang="en-AU" sz="1400" kern="1200" dirty="0" smtClean="0">
              <a:latin typeface="Century Gothic" pitchFamily="34" charset="0"/>
            </a:rPr>
            <a:t>Pricing and export strategies</a:t>
          </a:r>
          <a:endParaRPr lang="en-AU" sz="1400" kern="1200" dirty="0">
            <a:latin typeface="Century Gothic" pitchFamily="34" charset="0"/>
          </a:endParaRPr>
        </a:p>
      </dsp:txBody>
      <dsp:txXfrm>
        <a:off x="1736757" y="2637158"/>
        <a:ext cx="6327742" cy="1238579"/>
      </dsp:txXfrm>
    </dsp:sp>
    <dsp:sp modelId="{B8B14BB2-DC8C-42C0-B56D-7BAB20E8CED6}">
      <dsp:nvSpPr>
        <dsp:cNvPr id="0" name=""/>
        <dsp:cNvSpPr/>
      </dsp:nvSpPr>
      <dsp:spPr>
        <a:xfrm>
          <a:off x="123857" y="2791064"/>
          <a:ext cx="1612900" cy="990863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3"/>
          <a:srcRect/>
          <a:stretch>
            <a:fillRect l="-41000" r="-41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0A23B84-6B00-4907-9A66-D7291886432B}">
      <dsp:nvSpPr>
        <dsp:cNvPr id="0" name=""/>
        <dsp:cNvSpPr/>
      </dsp:nvSpPr>
      <dsp:spPr>
        <a:xfrm>
          <a:off x="0" y="3946002"/>
          <a:ext cx="8064500" cy="123857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AU" sz="1600" b="1" kern="1200" dirty="0">
              <a:latin typeface="Century Gothic" pitchFamily="34" charset="0"/>
            </a:rPr>
            <a:t>Supply Chain </a:t>
          </a:r>
          <a:r>
            <a:rPr lang="en-AU" sz="1600" b="1" kern="1200" dirty="0" smtClean="0">
              <a:latin typeface="Century Gothic" pitchFamily="34" charset="0"/>
            </a:rPr>
            <a:t>optimisation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AU" sz="1600" b="1" kern="1200" dirty="0" smtClean="0">
              <a:latin typeface="Century Gothic" pitchFamily="34" charset="0"/>
            </a:rPr>
            <a:t>   </a:t>
          </a:r>
          <a:r>
            <a:rPr lang="en-AU" sz="1400" kern="1200" dirty="0" smtClean="0">
              <a:latin typeface="Century Gothic" pitchFamily="34" charset="0"/>
            </a:rPr>
            <a:t>Procurement strategies &amp; negotiation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AU" sz="1400" kern="1200" dirty="0" smtClean="0">
              <a:latin typeface="Century Gothic" pitchFamily="34" charset="0"/>
            </a:rPr>
            <a:t>   Efficiency and effectiveness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AU" sz="1400" kern="1200" dirty="0" smtClean="0">
              <a:latin typeface="Century Gothic" pitchFamily="34" charset="0"/>
            </a:rPr>
            <a:t>   S&amp;OP</a:t>
          </a:r>
          <a:endParaRPr lang="en-AU" sz="1400" kern="1200" dirty="0">
            <a:latin typeface="Century Gothic" pitchFamily="34" charset="0"/>
          </a:endParaRPr>
        </a:p>
      </dsp:txBody>
      <dsp:txXfrm>
        <a:off x="1736757" y="3946002"/>
        <a:ext cx="6327742" cy="1238579"/>
      </dsp:txXfrm>
    </dsp:sp>
    <dsp:sp modelId="{1E191B0D-3A6F-483E-B4C7-068639A62700}">
      <dsp:nvSpPr>
        <dsp:cNvPr id="0" name=""/>
        <dsp:cNvSpPr/>
      </dsp:nvSpPr>
      <dsp:spPr>
        <a:xfrm>
          <a:off x="123857" y="4084141"/>
          <a:ext cx="1612900" cy="990863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4"/>
          <a:srcRect/>
          <a:stretch>
            <a:fillRect l="-11000" r="-11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6793EE-2D26-4637-BA20-EBCEC7615CA5}">
      <dsp:nvSpPr>
        <dsp:cNvPr id="0" name=""/>
        <dsp:cNvSpPr/>
      </dsp:nvSpPr>
      <dsp:spPr>
        <a:xfrm>
          <a:off x="1693" y="0"/>
          <a:ext cx="2634350" cy="5040560"/>
        </a:xfrm>
        <a:prstGeom prst="roundRect">
          <a:avLst>
            <a:gd name="adj" fmla="val 10000"/>
          </a:avLst>
        </a:prstGeom>
        <a:solidFill>
          <a:schemeClr val="tx1">
            <a:lumMod val="25000"/>
            <a:lumOff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b="1" kern="1200" dirty="0">
            <a:solidFill>
              <a:schemeClr val="tx2"/>
            </a:solidFill>
            <a:latin typeface="Century Gothic" pitchFamily="34" charset="0"/>
          </a:endParaRP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>
              <a:solidFill>
                <a:schemeClr val="tx2"/>
              </a:solidFill>
              <a:latin typeface="Century Gothic" pitchFamily="34" charset="0"/>
            </a:rPr>
            <a:t>Joined up Business Plans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>
              <a:solidFill>
                <a:schemeClr val="tx2"/>
              </a:solidFill>
              <a:latin typeface="Century Gothic" pitchFamily="34" charset="0"/>
            </a:rPr>
            <a:t>Sales competency development &amp; leadership compass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>
              <a:solidFill>
                <a:schemeClr val="tx2"/>
              </a:solidFill>
              <a:latin typeface="Century Gothic" pitchFamily="34" charset="0"/>
            </a:rPr>
            <a:t>Trading terms effectiveness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>
              <a:solidFill>
                <a:schemeClr val="tx2"/>
              </a:solidFill>
              <a:latin typeface="Century Gothic" pitchFamily="34" charset="0"/>
            </a:rPr>
            <a:t>Trade Marketing best practice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>
              <a:solidFill>
                <a:schemeClr val="tx2"/>
              </a:solidFill>
              <a:latin typeface="Century Gothic" pitchFamily="34" charset="0"/>
            </a:rPr>
            <a:t>Export </a:t>
          </a:r>
          <a:r>
            <a:rPr lang="en-US" sz="1400" b="1" kern="1200" dirty="0" smtClean="0">
              <a:solidFill>
                <a:schemeClr val="tx2"/>
              </a:solidFill>
              <a:latin typeface="Century Gothic" pitchFamily="34" charset="0"/>
            </a:rPr>
            <a:t>strategy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chemeClr val="tx2"/>
              </a:solidFill>
              <a:latin typeface="Century Gothic" pitchFamily="34" charset="0"/>
            </a:rPr>
            <a:t>Route to Customer</a:t>
          </a:r>
          <a:endParaRPr lang="en-US" sz="1400" b="1" kern="1200" dirty="0">
            <a:solidFill>
              <a:schemeClr val="tx2"/>
            </a:solidFill>
            <a:latin typeface="Century Gothic" pitchFamily="34" charset="0"/>
          </a:endParaRP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AU" sz="1400" kern="1200" dirty="0"/>
        </a:p>
      </dsp:txBody>
      <dsp:txXfrm>
        <a:off x="1693" y="2016224"/>
        <a:ext cx="2634350" cy="2016224"/>
      </dsp:txXfrm>
    </dsp:sp>
    <dsp:sp modelId="{EBCA9FA6-F21A-44EB-8956-13F4F4C31927}">
      <dsp:nvSpPr>
        <dsp:cNvPr id="0" name=""/>
        <dsp:cNvSpPr/>
      </dsp:nvSpPr>
      <dsp:spPr>
        <a:xfrm>
          <a:off x="479615" y="302433"/>
          <a:ext cx="1678506" cy="1678506"/>
        </a:xfrm>
        <a:prstGeom prst="ellipse">
          <a:avLst/>
        </a:prstGeom>
        <a:blipFill rotWithShape="1">
          <a:blip xmlns:r="http://schemas.openxmlformats.org/officeDocument/2006/relationships" r:embed="rId1"/>
          <a:srcRect/>
          <a:stretch>
            <a:fillRect l="-45000" r="-4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A1FBA5F-F158-49AA-9F18-E72E206E0CD4}">
      <dsp:nvSpPr>
        <dsp:cNvPr id="0" name=""/>
        <dsp:cNvSpPr/>
      </dsp:nvSpPr>
      <dsp:spPr>
        <a:xfrm>
          <a:off x="2715074" y="0"/>
          <a:ext cx="2634350" cy="504056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AU" sz="1400" b="1" kern="1200" dirty="0">
              <a:latin typeface="Century Gothic" pitchFamily="34" charset="0"/>
            </a:rPr>
            <a:t>Liquor industry strategy &amp; client alignment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AU" sz="1400" b="1" kern="1200" dirty="0">
              <a:latin typeface="Century Gothic" pitchFamily="34" charset="0"/>
            </a:rPr>
            <a:t>Business Development strategy</a:t>
          </a:r>
        </a:p>
      </dsp:txBody>
      <dsp:txXfrm>
        <a:off x="2715074" y="2016224"/>
        <a:ext cx="2634350" cy="2016224"/>
      </dsp:txXfrm>
    </dsp:sp>
    <dsp:sp modelId="{FAF92DCF-8234-4BBD-A13F-350498AE6E98}">
      <dsp:nvSpPr>
        <dsp:cNvPr id="0" name=""/>
        <dsp:cNvSpPr/>
      </dsp:nvSpPr>
      <dsp:spPr>
        <a:xfrm>
          <a:off x="3192996" y="302433"/>
          <a:ext cx="1678506" cy="1678506"/>
        </a:xfrm>
        <a:prstGeom prst="ellipse">
          <a:avLst/>
        </a:prstGeom>
        <a:blipFill rotWithShape="1">
          <a:blip xmlns:r="http://schemas.openxmlformats.org/officeDocument/2006/relationships" r:embed="rId2"/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29D770E-98CE-48B7-9A46-6508816FF201}">
      <dsp:nvSpPr>
        <dsp:cNvPr id="0" name=""/>
        <dsp:cNvSpPr/>
      </dsp:nvSpPr>
      <dsp:spPr>
        <a:xfrm>
          <a:off x="5428455" y="0"/>
          <a:ext cx="2634350" cy="5040560"/>
        </a:xfrm>
        <a:prstGeom prst="roundRect">
          <a:avLst>
            <a:gd name="adj" fmla="val 10000"/>
          </a:avLst>
        </a:prstGeom>
        <a:solidFill>
          <a:schemeClr val="tx1">
            <a:lumMod val="25000"/>
            <a:lumOff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99568" rIns="36000" bIns="9956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AU" sz="1400" b="1" kern="1200" dirty="0">
              <a:solidFill>
                <a:srgbClr val="000000"/>
              </a:solidFill>
              <a:latin typeface="Century Gothic" pitchFamily="34" charset="0"/>
            </a:rPr>
            <a:t>Global market and consumer insights review</a:t>
          </a:r>
        </a:p>
      </dsp:txBody>
      <dsp:txXfrm>
        <a:off x="5428455" y="2016224"/>
        <a:ext cx="2634350" cy="2016224"/>
      </dsp:txXfrm>
    </dsp:sp>
    <dsp:sp modelId="{BA00F5EA-C016-4423-972E-D04F4C516FAA}">
      <dsp:nvSpPr>
        <dsp:cNvPr id="0" name=""/>
        <dsp:cNvSpPr/>
      </dsp:nvSpPr>
      <dsp:spPr>
        <a:xfrm>
          <a:off x="5906378" y="346276"/>
          <a:ext cx="1678506" cy="1525930"/>
        </a:xfrm>
        <a:prstGeom prst="ellipse">
          <a:avLst/>
        </a:prstGeom>
        <a:solidFill>
          <a:schemeClr val="bg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E89818A-890C-4ABD-BE9D-FD97763AB117}">
      <dsp:nvSpPr>
        <dsp:cNvPr id="0" name=""/>
        <dsp:cNvSpPr/>
      </dsp:nvSpPr>
      <dsp:spPr>
        <a:xfrm>
          <a:off x="156498" y="4125476"/>
          <a:ext cx="7748090" cy="756084"/>
        </a:xfrm>
        <a:prstGeom prst="leftRight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7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5" y="3"/>
            <a:ext cx="2921582" cy="4936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88" tIns="45744" rIns="91488" bIns="45744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Arial" charset="0"/>
                <a:ea typeface="ヒラギノ角ゴ Pro W3" pitchFamily="-64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68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20534" y="3"/>
            <a:ext cx="2921582" cy="4936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88" tIns="45744" rIns="91488" bIns="45744" numCol="1" anchor="t" anchorCtr="0" compatLnSpc="1">
            <a:prstTxWarp prst="textNoShape">
              <a:avLst/>
            </a:prstTxWarp>
          </a:bodyPr>
          <a:lstStyle>
            <a:lvl1pPr algn="r">
              <a:defRPr>
                <a:latin typeface="Arial" charset="0"/>
                <a:ea typeface="ヒラギノ角ゴ Pro W3" pitchFamily="-64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096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1700" y="739775"/>
            <a:ext cx="4938713" cy="37052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68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98953" y="4689515"/>
            <a:ext cx="4944216" cy="4442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88" tIns="45744" rIns="91488" bIns="4574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68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5" y="9379037"/>
            <a:ext cx="2921582" cy="4936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88" tIns="45744" rIns="91488" bIns="45744" numCol="1" anchor="b" anchorCtr="0" compatLnSpc="1">
            <a:prstTxWarp prst="textNoShape">
              <a:avLst/>
            </a:prstTxWarp>
          </a:bodyPr>
          <a:lstStyle>
            <a:lvl1pPr>
              <a:defRPr>
                <a:latin typeface="Arial" charset="0"/>
                <a:ea typeface="ヒラギノ角ゴ Pro W3" pitchFamily="-64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68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20534" y="9379037"/>
            <a:ext cx="2921582" cy="4936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88" tIns="45744" rIns="91488" bIns="45744" numCol="1" anchor="b" anchorCtr="0" compatLnSpc="1">
            <a:prstTxWarp prst="textNoShape">
              <a:avLst/>
            </a:prstTxWarp>
          </a:bodyPr>
          <a:lstStyle>
            <a:lvl1pPr algn="r">
              <a:defRPr smtClean="0"/>
            </a:lvl1pPr>
          </a:lstStyle>
          <a:p>
            <a:pPr>
              <a:defRPr/>
            </a:pPr>
            <a:fld id="{9C23C7E3-846B-438B-94BD-7A187258C09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140022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ヒラギノ角ゴ Pro W3" pitchFamily="-64" charset="-128"/>
        <a:cs typeface="ヒラギノ角ゴ Pro W3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ヒラギノ角ゴ Pro W3" pitchFamily="-64" charset="-128"/>
        <a:cs typeface="ヒラギノ角ゴ Pro W3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ヒラギノ角ゴ Pro W3" pitchFamily="-64" charset="-128"/>
        <a:cs typeface="ヒラギノ角ゴ Pro W3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ヒラギノ角ゴ Pro W3" pitchFamily="-64" charset="-128"/>
        <a:cs typeface="ヒラギノ角ゴ Pro W3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ヒラギノ角ゴ Pro W3" pitchFamily="-64" charset="-128"/>
        <a:cs typeface="ヒラギノ角ゴ Pro W3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83D9CD3-E412-4803-BA10-FFA5750AB678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86982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83D9CD3-E412-4803-BA10-FFA5750AB678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96714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2.bin"/><Relationship Id="rId6" Type="http://schemas.openxmlformats.org/officeDocument/2006/relationships/image" Target="../media/image1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2.emf"/><Relationship Id="rId1" Type="http://schemas.openxmlformats.org/officeDocument/2006/relationships/vmlDrawing" Target="../drawings/vmlDrawing3.vml"/><Relationship Id="rId2" Type="http://schemas.openxmlformats.org/officeDocument/2006/relationships/tags" Target="../tags/tag5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4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4.vml"/><Relationship Id="rId2" Type="http://schemas.openxmlformats.org/officeDocument/2006/relationships/tags" Target="../tags/tag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4" Type="http://schemas.openxmlformats.org/officeDocument/2006/relationships/tags" Target="../tags/tag10.xml"/><Relationship Id="rId5" Type="http://schemas.openxmlformats.org/officeDocument/2006/relationships/tags" Target="../tags/tag11.xml"/><Relationship Id="rId6" Type="http://schemas.openxmlformats.org/officeDocument/2006/relationships/tags" Target="../tags/tag12.xml"/><Relationship Id="rId7" Type="http://schemas.openxmlformats.org/officeDocument/2006/relationships/tags" Target="../tags/tag13.xml"/><Relationship Id="rId8" Type="http://schemas.openxmlformats.org/officeDocument/2006/relationships/tags" Target="../tags/tag14.xml"/><Relationship Id="rId9" Type="http://schemas.openxmlformats.org/officeDocument/2006/relationships/slideMaster" Target="../slideMasters/slideMaster1.xml"/><Relationship Id="rId10" Type="http://schemas.openxmlformats.org/officeDocument/2006/relationships/oleObject" Target="../embeddings/oleObject5.bin"/><Relationship Id="rId11" Type="http://schemas.openxmlformats.org/officeDocument/2006/relationships/image" Target="../media/image2.emf"/><Relationship Id="rId1" Type="http://schemas.openxmlformats.org/officeDocument/2006/relationships/vmlDrawing" Target="../drawings/vmlDrawing5.vml"/><Relationship Id="rId2" Type="http://schemas.openxmlformats.org/officeDocument/2006/relationships/tags" Target="../tags/tag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tags" Target="../tags/tag15.xml"/><Relationship Id="rId2" Type="http://schemas.openxmlformats.org/officeDocument/2006/relationships/tags" Target="../tags/tag16.xml"/><Relationship Id="rId3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6.bin"/><Relationship Id="rId6" Type="http://schemas.openxmlformats.org/officeDocument/2006/relationships/image" Target="../media/image2.emf"/><Relationship Id="rId7" Type="http://schemas.openxmlformats.org/officeDocument/2006/relationships/image" Target="../media/image3.emf"/><Relationship Id="rId1" Type="http://schemas.openxmlformats.org/officeDocument/2006/relationships/vmlDrawing" Target="../drawings/vmlDrawing6.vml"/><Relationship Id="rId2" Type="http://schemas.openxmlformats.org/officeDocument/2006/relationships/tags" Target="../tags/tag1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o not remove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2700" cy="12700"/>
          </a:xfrm>
          <a:prstGeom prst="octagon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AU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graphicFrame>
        <p:nvGraphicFramePr>
          <p:cNvPr id="6" name="Object 5" hidden="1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4712052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205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Picture 264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600"/>
            </a:lvl1pPr>
            <a:lvl2pPr marL="542925" indent="-180975">
              <a:buFont typeface="Arial" pitchFamily="34" charset="0"/>
              <a:buChar char="•"/>
              <a:tabLst/>
              <a:defRPr sz="1400"/>
            </a:lvl2pPr>
            <a:lvl3pPr marL="893763" indent="-180975">
              <a:buFont typeface="Arial" pitchFamily="34" charset="0"/>
              <a:buChar char="•"/>
              <a:tabLst/>
              <a:defRPr sz="1400"/>
            </a:lvl3pPr>
            <a:lvl4pPr marL="1254125" indent="-180975">
              <a:buFont typeface="Arial" pitchFamily="34" charset="0"/>
              <a:buChar char="•"/>
              <a:defRPr sz="1400"/>
            </a:lvl4pPr>
            <a:lvl5pPr marL="1616075" indent="-180975">
              <a:buFont typeface="Arial" pitchFamily="34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 bwMode="auto">
          <a:xfrm>
            <a:off x="3348039" y="6524627"/>
            <a:ext cx="2409825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0252DFA-2EF7-4B49-BA3F-4202869729DE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itchFamily="34" charset="0"/>
                <a:ea typeface="ヒラギノ角ゴ Pro W3" charset="-128"/>
                <a:cs typeface="+mn-cs"/>
              </a:rPr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entury Gothic" pitchFamily="34" charset="0"/>
              <a:ea typeface="ヒラギノ角ゴ Pro W3" charset="-128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722C1C2-082D-41F5-B2CB-18CB249CD0E0}" type="slidenum">
              <a:rPr lang="en-AU" smtClean="0"/>
              <a:pPr>
                <a:defRPr/>
              </a:pPr>
              <a:t>‹#›</a:t>
            </a:fld>
            <a:endParaRPr lang="en-AU" sz="140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Rectangle 2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4B81108-CC86-424D-9395-CEF65A4B7160}" type="slidenum">
              <a:rPr lang="en-AU"/>
              <a:pPr>
                <a:defRPr/>
              </a:pPr>
              <a:t>‹#›</a:t>
            </a:fld>
            <a:endParaRPr lang="en-AU" sz="140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00800" y="333376"/>
            <a:ext cx="1981200" cy="53054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333376"/>
            <a:ext cx="5791200" cy="53054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Rectangle 2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37FB311-38EB-427F-93FE-0FF65D921162}" type="slidenum">
              <a:rPr lang="en-AU"/>
              <a:pPr>
                <a:defRPr/>
              </a:pPr>
              <a:t>‹#›</a:t>
            </a:fld>
            <a:endParaRPr lang="en-AU" sz="140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8C7CC8-91C8-4B61-BB22-CF6853636E96}" type="slidenum">
              <a:rPr lang="en-AU">
                <a:solidFill>
                  <a:srgbClr val="142350"/>
                </a:solidFill>
              </a:rPr>
              <a:pPr>
                <a:defRPr/>
              </a:pPr>
              <a:t>‹#›</a:t>
            </a:fld>
            <a:endParaRPr lang="en-AU" sz="1400" dirty="0">
              <a:solidFill>
                <a:srgbClr val="142350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68314" y="142852"/>
            <a:ext cx="8207375" cy="775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68314" y="1268415"/>
            <a:ext cx="8207375" cy="5113337"/>
          </a:xfrm>
        </p:spPr>
        <p:txBody>
          <a:bodyPr/>
          <a:lstStyle>
            <a:lvl1pPr>
              <a:defRPr sz="1600"/>
            </a:lvl1pPr>
            <a:lvl2pPr marL="542925" indent="-180975">
              <a:buFont typeface="Arial" pitchFamily="34" charset="0"/>
              <a:buChar char="•"/>
              <a:tabLst/>
              <a:defRPr sz="1400"/>
            </a:lvl2pPr>
            <a:lvl3pPr marL="893763" indent="-180975">
              <a:buFont typeface="Arial" pitchFamily="34" charset="0"/>
              <a:buChar char="•"/>
              <a:tabLst/>
              <a:defRPr sz="1400"/>
            </a:lvl3pPr>
            <a:lvl4pPr marL="1254125" indent="-180975">
              <a:buFont typeface="Arial" pitchFamily="34" charset="0"/>
              <a:buChar char="•"/>
              <a:defRPr sz="1400"/>
            </a:lvl4pPr>
            <a:lvl5pPr marL="1616075" indent="-180975">
              <a:buFont typeface="Arial" pitchFamily="34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1171109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8C7CC8-91C8-4B61-BB22-CF6853636E96}" type="slidenum">
              <a:rPr lang="en-AU">
                <a:solidFill>
                  <a:srgbClr val="142350"/>
                </a:solidFill>
              </a:rPr>
              <a:pPr>
                <a:defRPr/>
              </a:pPr>
              <a:t>‹#›</a:t>
            </a:fld>
            <a:endParaRPr lang="en-AU" sz="1400" dirty="0">
              <a:solidFill>
                <a:srgbClr val="142350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68314" y="142852"/>
            <a:ext cx="8207375" cy="775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68314" y="1268415"/>
            <a:ext cx="8207375" cy="5113337"/>
          </a:xfrm>
        </p:spPr>
        <p:txBody>
          <a:bodyPr/>
          <a:lstStyle>
            <a:lvl1pPr>
              <a:defRPr sz="1600"/>
            </a:lvl1pPr>
            <a:lvl2pPr marL="542925" indent="-180975">
              <a:buFont typeface="Arial" pitchFamily="34" charset="0"/>
              <a:buChar char="•"/>
              <a:tabLst/>
              <a:defRPr sz="1400"/>
            </a:lvl2pPr>
            <a:lvl3pPr marL="893763" indent="-180975">
              <a:buFont typeface="Arial" pitchFamily="34" charset="0"/>
              <a:buChar char="•"/>
              <a:tabLst/>
              <a:defRPr sz="1400"/>
            </a:lvl3pPr>
            <a:lvl4pPr marL="1254125" indent="-180975">
              <a:buFont typeface="Arial" pitchFamily="34" charset="0"/>
              <a:buChar char="•"/>
              <a:defRPr sz="1400"/>
            </a:lvl4pPr>
            <a:lvl5pPr marL="1616075" indent="-180975">
              <a:buFont typeface="Arial" pitchFamily="34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9620852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8C7CC8-91C8-4B61-BB22-CF6853636E96}" type="slidenum">
              <a:rPr lang="en-AU">
                <a:solidFill>
                  <a:srgbClr val="142350"/>
                </a:solidFill>
              </a:rPr>
              <a:pPr>
                <a:defRPr/>
              </a:pPr>
              <a:t>‹#›</a:t>
            </a:fld>
            <a:endParaRPr lang="en-AU" sz="1400" dirty="0">
              <a:solidFill>
                <a:srgbClr val="142350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68314" y="142852"/>
            <a:ext cx="8207375" cy="775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68314" y="1268415"/>
            <a:ext cx="8207375" cy="5113337"/>
          </a:xfrm>
        </p:spPr>
        <p:txBody>
          <a:bodyPr/>
          <a:lstStyle>
            <a:lvl1pPr>
              <a:defRPr sz="1600"/>
            </a:lvl1pPr>
            <a:lvl2pPr marL="542925" indent="-180975">
              <a:buFont typeface="Arial" pitchFamily="34" charset="0"/>
              <a:buChar char="•"/>
              <a:tabLst/>
              <a:defRPr sz="1400"/>
            </a:lvl2pPr>
            <a:lvl3pPr marL="893763" indent="-180975">
              <a:buFont typeface="Arial" pitchFamily="34" charset="0"/>
              <a:buChar char="•"/>
              <a:tabLst/>
              <a:defRPr sz="1400"/>
            </a:lvl3pPr>
            <a:lvl4pPr marL="1254125" indent="-180975">
              <a:buFont typeface="Arial" pitchFamily="34" charset="0"/>
              <a:buChar char="•"/>
              <a:defRPr sz="1400"/>
            </a:lvl4pPr>
            <a:lvl5pPr marL="1616075" indent="-180975">
              <a:buFont typeface="Arial" pitchFamily="34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5970245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8C7CC8-91C8-4B61-BB22-CF6853636E96}" type="slidenum">
              <a:rPr lang="en-AU">
                <a:solidFill>
                  <a:srgbClr val="142350"/>
                </a:solidFill>
              </a:rPr>
              <a:pPr>
                <a:defRPr/>
              </a:pPr>
              <a:t>‹#›</a:t>
            </a:fld>
            <a:endParaRPr lang="en-AU" sz="1400" dirty="0">
              <a:solidFill>
                <a:srgbClr val="142350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68314" y="142852"/>
            <a:ext cx="8207375" cy="775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68314" y="1268415"/>
            <a:ext cx="8207375" cy="5113337"/>
          </a:xfrm>
        </p:spPr>
        <p:txBody>
          <a:bodyPr/>
          <a:lstStyle>
            <a:lvl1pPr>
              <a:defRPr sz="1600"/>
            </a:lvl1pPr>
            <a:lvl2pPr marL="542925" indent="-180975">
              <a:buFont typeface="Arial" pitchFamily="34" charset="0"/>
              <a:buChar char="•"/>
              <a:tabLst/>
              <a:defRPr sz="1400"/>
            </a:lvl2pPr>
            <a:lvl3pPr marL="893763" indent="-180975">
              <a:buFont typeface="Arial" pitchFamily="34" charset="0"/>
              <a:buChar char="•"/>
              <a:tabLst/>
              <a:defRPr sz="1400"/>
            </a:lvl3pPr>
            <a:lvl4pPr marL="1254125" indent="-180975">
              <a:buFont typeface="Arial" pitchFamily="34" charset="0"/>
              <a:buChar char="•"/>
              <a:defRPr sz="1400"/>
            </a:lvl4pPr>
            <a:lvl5pPr marL="1616075" indent="-180975">
              <a:buFont typeface="Arial" pitchFamily="34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1147181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8C7CC8-91C8-4B61-BB22-CF6853636E96}" type="slidenum">
              <a:rPr lang="en-AU">
                <a:solidFill>
                  <a:srgbClr val="142350"/>
                </a:solidFill>
              </a:rPr>
              <a:pPr>
                <a:defRPr/>
              </a:pPr>
              <a:t>‹#›</a:t>
            </a:fld>
            <a:endParaRPr lang="en-AU" sz="1400" dirty="0">
              <a:solidFill>
                <a:srgbClr val="142350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68314" y="142852"/>
            <a:ext cx="8207375" cy="775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68314" y="1268415"/>
            <a:ext cx="8207375" cy="5113337"/>
          </a:xfrm>
        </p:spPr>
        <p:txBody>
          <a:bodyPr/>
          <a:lstStyle>
            <a:lvl1pPr>
              <a:defRPr sz="1600"/>
            </a:lvl1pPr>
            <a:lvl2pPr marL="542925" indent="-180975">
              <a:buFont typeface="Arial" pitchFamily="34" charset="0"/>
              <a:buChar char="•"/>
              <a:tabLst/>
              <a:defRPr sz="1400"/>
            </a:lvl2pPr>
            <a:lvl3pPr marL="893763" indent="-180975">
              <a:buFont typeface="Arial" pitchFamily="34" charset="0"/>
              <a:buChar char="•"/>
              <a:tabLst/>
              <a:defRPr sz="1400"/>
            </a:lvl3pPr>
            <a:lvl4pPr marL="1254125" indent="-180975">
              <a:buFont typeface="Arial" pitchFamily="34" charset="0"/>
              <a:buChar char="•"/>
              <a:defRPr sz="1400"/>
            </a:lvl4pPr>
            <a:lvl5pPr marL="1616075" indent="-180975">
              <a:buFont typeface="Arial" pitchFamily="34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252040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8C7CC8-91C8-4B61-BB22-CF6853636E96}" type="slidenum">
              <a:rPr lang="en-AU">
                <a:solidFill>
                  <a:srgbClr val="142350"/>
                </a:solidFill>
              </a:rPr>
              <a:pPr>
                <a:defRPr/>
              </a:pPr>
              <a:t>‹#›</a:t>
            </a:fld>
            <a:endParaRPr lang="en-AU" sz="1400" dirty="0">
              <a:solidFill>
                <a:srgbClr val="142350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68314" y="142852"/>
            <a:ext cx="8207375" cy="775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68314" y="1268415"/>
            <a:ext cx="8207375" cy="5113337"/>
          </a:xfrm>
        </p:spPr>
        <p:txBody>
          <a:bodyPr/>
          <a:lstStyle>
            <a:lvl1pPr>
              <a:defRPr sz="1600"/>
            </a:lvl1pPr>
            <a:lvl2pPr marL="542925" indent="-180975">
              <a:buFont typeface="Arial" pitchFamily="34" charset="0"/>
              <a:buChar char="•"/>
              <a:tabLst/>
              <a:defRPr sz="1400"/>
            </a:lvl2pPr>
            <a:lvl3pPr marL="893763" indent="-180975">
              <a:buFont typeface="Arial" pitchFamily="34" charset="0"/>
              <a:buChar char="•"/>
              <a:tabLst/>
              <a:defRPr sz="1400"/>
            </a:lvl3pPr>
            <a:lvl4pPr marL="1254125" indent="-180975">
              <a:buFont typeface="Arial" pitchFamily="34" charset="0"/>
              <a:buChar char="•"/>
              <a:defRPr sz="1400"/>
            </a:lvl4pPr>
            <a:lvl5pPr marL="1616075" indent="-180975">
              <a:buFont typeface="Arial" pitchFamily="34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77678338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8C7CC8-91C8-4B61-BB22-CF6853636E96}" type="slidenum">
              <a:rPr lang="en-AU">
                <a:solidFill>
                  <a:srgbClr val="142350"/>
                </a:solidFill>
              </a:rPr>
              <a:pPr>
                <a:defRPr/>
              </a:pPr>
              <a:t>‹#›</a:t>
            </a:fld>
            <a:endParaRPr lang="en-AU" sz="1400" dirty="0">
              <a:solidFill>
                <a:srgbClr val="142350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68314" y="142852"/>
            <a:ext cx="8207375" cy="775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68314" y="1268415"/>
            <a:ext cx="8207375" cy="5113337"/>
          </a:xfrm>
        </p:spPr>
        <p:txBody>
          <a:bodyPr/>
          <a:lstStyle>
            <a:lvl1pPr>
              <a:defRPr sz="1600"/>
            </a:lvl1pPr>
            <a:lvl2pPr marL="542925" indent="-180975">
              <a:buFont typeface="Arial" pitchFamily="34" charset="0"/>
              <a:buChar char="•"/>
              <a:tabLst/>
              <a:defRPr sz="1400"/>
            </a:lvl2pPr>
            <a:lvl3pPr marL="893763" indent="-180975">
              <a:buFont typeface="Arial" pitchFamily="34" charset="0"/>
              <a:buChar char="•"/>
              <a:tabLst/>
              <a:defRPr sz="1400"/>
            </a:lvl3pPr>
            <a:lvl4pPr marL="1254125" indent="-180975">
              <a:buFont typeface="Arial" pitchFamily="34" charset="0"/>
              <a:buChar char="•"/>
              <a:defRPr sz="1400"/>
            </a:lvl4pPr>
            <a:lvl5pPr marL="1616075" indent="-180975">
              <a:buFont typeface="Arial" pitchFamily="34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2910110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8C7CC8-91C8-4B61-BB22-CF6853636E96}" type="slidenum">
              <a:rPr lang="en-AU">
                <a:solidFill>
                  <a:srgbClr val="142350"/>
                </a:solidFill>
              </a:rPr>
              <a:pPr>
                <a:defRPr/>
              </a:pPr>
              <a:t>‹#›</a:t>
            </a:fld>
            <a:endParaRPr lang="en-AU" sz="1400" dirty="0">
              <a:solidFill>
                <a:srgbClr val="142350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68314" y="142852"/>
            <a:ext cx="8207375" cy="775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68314" y="1268415"/>
            <a:ext cx="8207375" cy="5113337"/>
          </a:xfrm>
        </p:spPr>
        <p:txBody>
          <a:bodyPr/>
          <a:lstStyle>
            <a:lvl1pPr>
              <a:defRPr sz="1600"/>
            </a:lvl1pPr>
            <a:lvl2pPr marL="542925" indent="-180975">
              <a:buFont typeface="Arial" pitchFamily="34" charset="0"/>
              <a:buChar char="•"/>
              <a:tabLst/>
              <a:defRPr sz="1400"/>
            </a:lvl2pPr>
            <a:lvl3pPr marL="893763" indent="-180975">
              <a:buFont typeface="Arial" pitchFamily="34" charset="0"/>
              <a:buChar char="•"/>
              <a:tabLst/>
              <a:defRPr sz="1400"/>
            </a:lvl3pPr>
            <a:lvl4pPr marL="1254125" indent="-180975">
              <a:buFont typeface="Arial" pitchFamily="34" charset="0"/>
              <a:buChar char="•"/>
              <a:defRPr sz="1400"/>
            </a:lvl4pPr>
            <a:lvl5pPr marL="1616075" indent="-180975">
              <a:buFont typeface="Arial" pitchFamily="34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5310751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D773ED10-3D19-4679-BCEC-3B1A6C4F15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27704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32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722C1C2-082D-41F5-B2CB-18CB249CD0E0}" type="slidenum">
              <a:rPr lang="en-AU" smtClean="0"/>
              <a:pPr>
                <a:defRPr/>
              </a:pPr>
              <a:t>‹#›</a:t>
            </a:fld>
            <a:endParaRPr lang="en-AU" sz="140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8301882" y="6439688"/>
            <a:ext cx="190123" cy="20699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AU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7570936" y="6511927"/>
            <a:ext cx="1547664" cy="33337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AU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921700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8C7CC8-91C8-4B61-BB22-CF6853636E96}" type="slidenum">
              <a:rPr lang="en-AU">
                <a:solidFill>
                  <a:srgbClr val="142350"/>
                </a:solidFill>
              </a:rPr>
              <a:pPr>
                <a:defRPr/>
              </a:pPr>
              <a:t>‹#›</a:t>
            </a:fld>
            <a:endParaRPr lang="en-AU" sz="1400" dirty="0">
              <a:solidFill>
                <a:srgbClr val="142350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68314" y="142852"/>
            <a:ext cx="8207375" cy="775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68314" y="1268415"/>
            <a:ext cx="8207375" cy="5113337"/>
          </a:xfrm>
        </p:spPr>
        <p:txBody>
          <a:bodyPr/>
          <a:lstStyle>
            <a:lvl1pPr>
              <a:defRPr sz="1600"/>
            </a:lvl1pPr>
            <a:lvl2pPr marL="542925" indent="-180975">
              <a:buFont typeface="Arial" pitchFamily="34" charset="0"/>
              <a:buChar char="•"/>
              <a:tabLst/>
              <a:defRPr sz="1400"/>
            </a:lvl2pPr>
            <a:lvl3pPr marL="893763" indent="-180975">
              <a:buFont typeface="Arial" pitchFamily="34" charset="0"/>
              <a:buChar char="•"/>
              <a:tabLst/>
              <a:defRPr sz="1400"/>
            </a:lvl3pPr>
            <a:lvl4pPr marL="1254125" indent="-180975">
              <a:buFont typeface="Arial" pitchFamily="34" charset="0"/>
              <a:buChar char="•"/>
              <a:defRPr sz="1400"/>
            </a:lvl4pPr>
            <a:lvl5pPr marL="1616075" indent="-180975">
              <a:buFont typeface="Arial" pitchFamily="34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67749218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8C7CC8-91C8-4B61-BB22-CF6853636E96}" type="slidenum">
              <a:rPr lang="en-AU">
                <a:solidFill>
                  <a:srgbClr val="142350"/>
                </a:solidFill>
              </a:rPr>
              <a:pPr>
                <a:defRPr/>
              </a:pPr>
              <a:t>‹#›</a:t>
            </a:fld>
            <a:endParaRPr lang="en-AU" sz="1400" dirty="0">
              <a:solidFill>
                <a:srgbClr val="142350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68314" y="142852"/>
            <a:ext cx="8207375" cy="775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68314" y="1268415"/>
            <a:ext cx="8207375" cy="5113337"/>
          </a:xfrm>
        </p:spPr>
        <p:txBody>
          <a:bodyPr/>
          <a:lstStyle>
            <a:lvl1pPr>
              <a:defRPr sz="1600"/>
            </a:lvl1pPr>
            <a:lvl2pPr marL="542925" indent="-180975">
              <a:buFont typeface="Arial" pitchFamily="34" charset="0"/>
              <a:buChar char="•"/>
              <a:tabLst/>
              <a:defRPr sz="1400"/>
            </a:lvl2pPr>
            <a:lvl3pPr marL="893763" indent="-180975">
              <a:buFont typeface="Arial" pitchFamily="34" charset="0"/>
              <a:buChar char="•"/>
              <a:tabLst/>
              <a:defRPr sz="1400"/>
            </a:lvl3pPr>
            <a:lvl4pPr marL="1254125" indent="-180975">
              <a:buFont typeface="Arial" pitchFamily="34" charset="0"/>
              <a:buChar char="•"/>
              <a:defRPr sz="1400"/>
            </a:lvl4pPr>
            <a:lvl5pPr marL="1616075" indent="-180975">
              <a:buFont typeface="Arial" pitchFamily="34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819502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8C7CC8-91C8-4B61-BB22-CF6853636E96}" type="slidenum">
              <a:rPr lang="en-AU">
                <a:solidFill>
                  <a:srgbClr val="142350"/>
                </a:solidFill>
              </a:rPr>
              <a:pPr>
                <a:defRPr/>
              </a:pPr>
              <a:t>‹#›</a:t>
            </a:fld>
            <a:endParaRPr lang="en-AU" sz="1400" dirty="0">
              <a:solidFill>
                <a:srgbClr val="142350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68314" y="142852"/>
            <a:ext cx="8207375" cy="775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68314" y="1268415"/>
            <a:ext cx="8207375" cy="5113337"/>
          </a:xfrm>
        </p:spPr>
        <p:txBody>
          <a:bodyPr/>
          <a:lstStyle>
            <a:lvl1pPr>
              <a:defRPr sz="1600"/>
            </a:lvl1pPr>
            <a:lvl2pPr marL="542925" indent="-180975">
              <a:buFont typeface="Arial" pitchFamily="34" charset="0"/>
              <a:buChar char="•"/>
              <a:tabLst/>
              <a:defRPr sz="1400"/>
            </a:lvl2pPr>
            <a:lvl3pPr marL="893763" indent="-180975">
              <a:buFont typeface="Arial" pitchFamily="34" charset="0"/>
              <a:buChar char="•"/>
              <a:tabLst/>
              <a:defRPr sz="1400"/>
            </a:lvl3pPr>
            <a:lvl4pPr marL="1254125" indent="-180975">
              <a:buFont typeface="Arial" pitchFamily="34" charset="0"/>
              <a:buChar char="•"/>
              <a:defRPr sz="1400"/>
            </a:lvl4pPr>
            <a:lvl5pPr marL="1616075" indent="-180975">
              <a:buFont typeface="Arial" pitchFamily="34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24956749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8C7CC8-91C8-4B61-BB22-CF6853636E96}" type="slidenum">
              <a:rPr lang="en-AU">
                <a:solidFill>
                  <a:srgbClr val="142350"/>
                </a:solidFill>
              </a:rPr>
              <a:pPr>
                <a:defRPr/>
              </a:pPr>
              <a:t>‹#›</a:t>
            </a:fld>
            <a:endParaRPr lang="en-AU" sz="1400" dirty="0">
              <a:solidFill>
                <a:srgbClr val="142350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68314" y="142852"/>
            <a:ext cx="8207375" cy="775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68314" y="1268415"/>
            <a:ext cx="8207375" cy="5113337"/>
          </a:xfrm>
        </p:spPr>
        <p:txBody>
          <a:bodyPr/>
          <a:lstStyle>
            <a:lvl1pPr>
              <a:defRPr sz="1600"/>
            </a:lvl1pPr>
            <a:lvl2pPr marL="542925" indent="-180975">
              <a:buFont typeface="Arial" pitchFamily="34" charset="0"/>
              <a:buChar char="•"/>
              <a:tabLst/>
              <a:defRPr sz="1400"/>
            </a:lvl2pPr>
            <a:lvl3pPr marL="893763" indent="-180975">
              <a:buFont typeface="Arial" pitchFamily="34" charset="0"/>
              <a:buChar char="•"/>
              <a:tabLst/>
              <a:defRPr sz="1400"/>
            </a:lvl3pPr>
            <a:lvl4pPr marL="1254125" indent="-180975">
              <a:buFont typeface="Arial" pitchFamily="34" charset="0"/>
              <a:buChar char="•"/>
              <a:defRPr sz="1400"/>
            </a:lvl4pPr>
            <a:lvl5pPr marL="1616075" indent="-180975">
              <a:buFont typeface="Arial" pitchFamily="34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39389456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8C7CC8-91C8-4B61-BB22-CF6853636E96}" type="slidenum">
              <a:rPr lang="en-AU">
                <a:solidFill>
                  <a:srgbClr val="142350"/>
                </a:solidFill>
              </a:rPr>
              <a:pPr>
                <a:defRPr/>
              </a:pPr>
              <a:t>‹#›</a:t>
            </a:fld>
            <a:endParaRPr lang="en-AU" sz="1400" dirty="0">
              <a:solidFill>
                <a:srgbClr val="142350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68314" y="142852"/>
            <a:ext cx="8207375" cy="775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68314" y="1268415"/>
            <a:ext cx="8207375" cy="5113337"/>
          </a:xfrm>
        </p:spPr>
        <p:txBody>
          <a:bodyPr/>
          <a:lstStyle>
            <a:lvl1pPr>
              <a:defRPr sz="1600"/>
            </a:lvl1pPr>
            <a:lvl2pPr marL="542925" indent="-180975">
              <a:buFont typeface="Arial" pitchFamily="34" charset="0"/>
              <a:buChar char="•"/>
              <a:tabLst/>
              <a:defRPr sz="1400"/>
            </a:lvl2pPr>
            <a:lvl3pPr marL="893763" indent="-180975">
              <a:buFont typeface="Arial" pitchFamily="34" charset="0"/>
              <a:buChar char="•"/>
              <a:tabLst/>
              <a:defRPr sz="1400"/>
            </a:lvl3pPr>
            <a:lvl4pPr marL="1254125" indent="-180975">
              <a:buFont typeface="Arial" pitchFamily="34" charset="0"/>
              <a:buChar char="•"/>
              <a:defRPr sz="1400"/>
            </a:lvl4pPr>
            <a:lvl5pPr marL="1616075" indent="-180975">
              <a:buFont typeface="Arial" pitchFamily="34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10617200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8C7CC8-91C8-4B61-BB22-CF6853636E96}" type="slidenum">
              <a:rPr lang="en-AU">
                <a:solidFill>
                  <a:srgbClr val="142350"/>
                </a:solidFill>
              </a:rPr>
              <a:pPr>
                <a:defRPr/>
              </a:pPr>
              <a:t>‹#›</a:t>
            </a:fld>
            <a:endParaRPr lang="en-AU" sz="1400" dirty="0">
              <a:solidFill>
                <a:srgbClr val="142350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68314" y="142852"/>
            <a:ext cx="8207375" cy="775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68314" y="1268415"/>
            <a:ext cx="8207375" cy="5113337"/>
          </a:xfrm>
        </p:spPr>
        <p:txBody>
          <a:bodyPr/>
          <a:lstStyle>
            <a:lvl1pPr>
              <a:defRPr sz="1600"/>
            </a:lvl1pPr>
            <a:lvl2pPr marL="542925" indent="-180975">
              <a:buFont typeface="Arial" pitchFamily="34" charset="0"/>
              <a:buChar char="•"/>
              <a:tabLst/>
              <a:defRPr sz="1400"/>
            </a:lvl2pPr>
            <a:lvl3pPr marL="893763" indent="-180975">
              <a:buFont typeface="Arial" pitchFamily="34" charset="0"/>
              <a:buChar char="•"/>
              <a:tabLst/>
              <a:defRPr sz="1400"/>
            </a:lvl3pPr>
            <a:lvl4pPr marL="1254125" indent="-180975">
              <a:buFont typeface="Arial" pitchFamily="34" charset="0"/>
              <a:buChar char="•"/>
              <a:defRPr sz="1400"/>
            </a:lvl4pPr>
            <a:lvl5pPr marL="1616075" indent="-180975">
              <a:buFont typeface="Arial" pitchFamily="34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06843047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8C7CC8-91C8-4B61-BB22-CF6853636E96}" type="slidenum">
              <a:rPr lang="en-AU">
                <a:solidFill>
                  <a:srgbClr val="142350"/>
                </a:solidFill>
              </a:rPr>
              <a:pPr>
                <a:defRPr/>
              </a:pPr>
              <a:t>‹#›</a:t>
            </a:fld>
            <a:endParaRPr lang="en-AU" sz="1400" dirty="0">
              <a:solidFill>
                <a:srgbClr val="142350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68314" y="142852"/>
            <a:ext cx="8207375" cy="775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68314" y="1268415"/>
            <a:ext cx="8207375" cy="5113337"/>
          </a:xfrm>
        </p:spPr>
        <p:txBody>
          <a:bodyPr/>
          <a:lstStyle>
            <a:lvl1pPr>
              <a:defRPr sz="1600"/>
            </a:lvl1pPr>
            <a:lvl2pPr marL="542925" indent="-180975">
              <a:buFont typeface="Arial" pitchFamily="34" charset="0"/>
              <a:buChar char="•"/>
              <a:tabLst/>
              <a:defRPr sz="1400"/>
            </a:lvl2pPr>
            <a:lvl3pPr marL="893763" indent="-180975">
              <a:buFont typeface="Arial" pitchFamily="34" charset="0"/>
              <a:buChar char="•"/>
              <a:tabLst/>
              <a:defRPr sz="1400"/>
            </a:lvl3pPr>
            <a:lvl4pPr marL="1254125" indent="-180975">
              <a:buFont typeface="Arial" pitchFamily="34" charset="0"/>
              <a:buChar char="•"/>
              <a:defRPr sz="1400"/>
            </a:lvl4pPr>
            <a:lvl5pPr marL="1616075" indent="-180975">
              <a:buFont typeface="Arial" pitchFamily="34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07082643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8C7CC8-91C8-4B61-BB22-CF6853636E96}" type="slidenum">
              <a:rPr lang="en-AU">
                <a:solidFill>
                  <a:srgbClr val="142350"/>
                </a:solidFill>
              </a:rPr>
              <a:pPr>
                <a:defRPr/>
              </a:pPr>
              <a:t>‹#›</a:t>
            </a:fld>
            <a:endParaRPr lang="en-AU" sz="1400" dirty="0">
              <a:solidFill>
                <a:srgbClr val="142350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68314" y="142852"/>
            <a:ext cx="8207375" cy="775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68314" y="1268415"/>
            <a:ext cx="8207375" cy="5113337"/>
          </a:xfrm>
        </p:spPr>
        <p:txBody>
          <a:bodyPr/>
          <a:lstStyle>
            <a:lvl1pPr>
              <a:defRPr sz="1600"/>
            </a:lvl1pPr>
            <a:lvl2pPr marL="542925" indent="-180975">
              <a:buFont typeface="Arial" pitchFamily="34" charset="0"/>
              <a:buChar char="•"/>
              <a:tabLst/>
              <a:defRPr sz="1400"/>
            </a:lvl2pPr>
            <a:lvl3pPr marL="893763" indent="-180975">
              <a:buFont typeface="Arial" pitchFamily="34" charset="0"/>
              <a:buChar char="•"/>
              <a:tabLst/>
              <a:defRPr sz="1400"/>
            </a:lvl3pPr>
            <a:lvl4pPr marL="1254125" indent="-180975">
              <a:buFont typeface="Arial" pitchFamily="34" charset="0"/>
              <a:buChar char="•"/>
              <a:defRPr sz="1400"/>
            </a:lvl4pPr>
            <a:lvl5pPr marL="1616075" indent="-180975">
              <a:buFont typeface="Arial" pitchFamily="34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58499708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8C7CC8-91C8-4B61-BB22-CF6853636E96}" type="slidenum">
              <a:rPr lang="en-AU">
                <a:solidFill>
                  <a:srgbClr val="142350"/>
                </a:solidFill>
              </a:rPr>
              <a:pPr>
                <a:defRPr/>
              </a:pPr>
              <a:t>‹#›</a:t>
            </a:fld>
            <a:endParaRPr lang="en-AU" sz="1400" dirty="0">
              <a:solidFill>
                <a:srgbClr val="142350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68314" y="142852"/>
            <a:ext cx="8207375" cy="775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68314" y="1268415"/>
            <a:ext cx="8207375" cy="5113337"/>
          </a:xfrm>
        </p:spPr>
        <p:txBody>
          <a:bodyPr/>
          <a:lstStyle>
            <a:lvl1pPr>
              <a:defRPr sz="1600"/>
            </a:lvl1pPr>
            <a:lvl2pPr marL="542925" indent="-180975">
              <a:buFont typeface="Arial" pitchFamily="34" charset="0"/>
              <a:buChar char="•"/>
              <a:tabLst/>
              <a:defRPr sz="1400"/>
            </a:lvl2pPr>
            <a:lvl3pPr marL="893763" indent="-180975">
              <a:buFont typeface="Arial" pitchFamily="34" charset="0"/>
              <a:buChar char="•"/>
              <a:tabLst/>
              <a:defRPr sz="1400"/>
            </a:lvl3pPr>
            <a:lvl4pPr marL="1254125" indent="-180975">
              <a:buFont typeface="Arial" pitchFamily="34" charset="0"/>
              <a:buChar char="•"/>
              <a:defRPr sz="1400"/>
            </a:lvl4pPr>
            <a:lvl5pPr marL="1616075" indent="-180975">
              <a:buFont typeface="Arial" pitchFamily="34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85728449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8C7CC8-91C8-4B61-BB22-CF6853636E96}" type="slidenum">
              <a:rPr lang="en-AU">
                <a:solidFill>
                  <a:srgbClr val="142350"/>
                </a:solidFill>
              </a:rPr>
              <a:pPr>
                <a:defRPr/>
              </a:pPr>
              <a:t>‹#›</a:t>
            </a:fld>
            <a:endParaRPr lang="en-AU" sz="1400" dirty="0">
              <a:solidFill>
                <a:srgbClr val="142350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68314" y="142852"/>
            <a:ext cx="8207375" cy="775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68314" y="1268415"/>
            <a:ext cx="8207375" cy="5113337"/>
          </a:xfrm>
        </p:spPr>
        <p:txBody>
          <a:bodyPr/>
          <a:lstStyle>
            <a:lvl1pPr>
              <a:defRPr sz="1600"/>
            </a:lvl1pPr>
            <a:lvl2pPr marL="542925" indent="-180975">
              <a:buFont typeface="Arial" pitchFamily="34" charset="0"/>
              <a:buChar char="•"/>
              <a:tabLst/>
              <a:defRPr sz="1400"/>
            </a:lvl2pPr>
            <a:lvl3pPr marL="893763" indent="-180975">
              <a:buFont typeface="Arial" pitchFamily="34" charset="0"/>
              <a:buChar char="•"/>
              <a:tabLst/>
              <a:defRPr sz="1400"/>
            </a:lvl3pPr>
            <a:lvl4pPr marL="1254125" indent="-180975">
              <a:buFont typeface="Arial" pitchFamily="34" charset="0"/>
              <a:buChar char="•"/>
              <a:defRPr sz="1400"/>
            </a:lvl4pPr>
            <a:lvl5pPr marL="1616075" indent="-180975">
              <a:buFont typeface="Arial" pitchFamily="34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017091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F4A1C55D-7288-4ECB-AF81-D4ABCD3754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37959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099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68314" y="142852"/>
            <a:ext cx="8207375" cy="775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68314" y="1268415"/>
            <a:ext cx="8207375" cy="5113337"/>
          </a:xfrm>
        </p:spPr>
        <p:txBody>
          <a:bodyPr/>
          <a:lstStyle>
            <a:lvl1pPr>
              <a:defRPr sz="1600"/>
            </a:lvl1pPr>
            <a:lvl2pPr marL="542925" indent="-180975">
              <a:buFont typeface="Arial" pitchFamily="34" charset="0"/>
              <a:buChar char="•"/>
              <a:tabLst/>
              <a:defRPr sz="1400"/>
            </a:lvl2pPr>
            <a:lvl3pPr marL="893763" indent="-180975">
              <a:buFont typeface="Arial" pitchFamily="34" charset="0"/>
              <a:buChar char="•"/>
              <a:tabLst/>
              <a:defRPr sz="1400"/>
            </a:lvl3pPr>
            <a:lvl4pPr marL="1254125" indent="-180975">
              <a:buFont typeface="Arial" pitchFamily="34" charset="0"/>
              <a:buChar char="•"/>
              <a:defRPr sz="1400"/>
            </a:lvl4pPr>
            <a:lvl5pPr marL="1616075" indent="-180975">
              <a:buFont typeface="Arial" pitchFamily="34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7" name="Slide Number Placeholder 3"/>
          <p:cNvSpPr txBox="1"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3348039" y="6524627"/>
            <a:ext cx="2409825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0252DFA-2EF7-4B49-BA3F-4202869729DE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itchFamily="34" charset="0"/>
                <a:ea typeface="ヒラギノ角ゴ Pro W3" charset="-128"/>
                <a:cs typeface="+mn-cs"/>
              </a:rPr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entury Gothic" pitchFamily="34" charset="0"/>
              <a:ea typeface="ヒラギノ角ゴ Pro W3" charset="-128"/>
              <a:cs typeface="+mn-cs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30426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5836" name="think-cell Slide" r:id="rId10" imgW="6350000" imgH="6350000" progId="TCLayout.ActiveDocument.1">
                  <p:embed/>
                </p:oleObj>
              </mc:Choice>
              <mc:Fallback>
                <p:oleObj name="think-cell Slide" r:id="rId10" imgW="6350000" imgH="6350000" progId="TCLayout.ActiveDocument.1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  <p:custDataLst>
              <p:tags r:id="rId4"/>
            </p:custDataLst>
          </p:nvPr>
        </p:nvSpPr>
        <p:spPr>
          <a:xfrm>
            <a:off x="457200" y="1066800"/>
            <a:ext cx="3886200" cy="4572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  <p:custDataLst>
              <p:tags r:id="rId5"/>
            </p:custDataLst>
          </p:nvPr>
        </p:nvSpPr>
        <p:spPr>
          <a:xfrm>
            <a:off x="4495800" y="1066800"/>
            <a:ext cx="3886200" cy="4572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0"/>
            <p:custDataLst>
              <p:tags r:id="rId6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1555BD-A781-471D-887E-EB590F82A7B4}" type="slidenum">
              <a:rPr lang="en-AU"/>
              <a:pPr>
                <a:defRPr/>
              </a:pPr>
              <a:t>‹#›</a:t>
            </a:fld>
            <a:endParaRPr lang="en-AU" sz="1400"/>
          </a:p>
        </p:txBody>
      </p:sp>
      <p:sp>
        <p:nvSpPr>
          <p:cNvPr id="7" name="TextBox 6"/>
          <p:cNvSpPr txBox="1"/>
          <p:nvPr userDrawn="1">
            <p:custDataLst>
              <p:tags r:id="rId7"/>
            </p:custDataLst>
          </p:nvPr>
        </p:nvSpPr>
        <p:spPr>
          <a:xfrm>
            <a:off x="7681791" y="6552238"/>
            <a:ext cx="144016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AU" sz="1400" dirty="0">
              <a:latin typeface="+mn-lt"/>
            </a:endParaRPr>
          </a:p>
        </p:txBody>
      </p:sp>
      <p:sp>
        <p:nvSpPr>
          <p:cNvPr id="8" name="TextBox 7"/>
          <p:cNvSpPr txBox="1"/>
          <p:nvPr userDrawn="1">
            <p:custDataLst>
              <p:tags r:id="rId8"/>
            </p:custDataLst>
          </p:nvPr>
        </p:nvSpPr>
        <p:spPr>
          <a:xfrm>
            <a:off x="8309505" y="6444710"/>
            <a:ext cx="184731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endParaRPr lang="en-AU" sz="1400" dirty="0">
              <a:latin typeface="+mn-lt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Rectangle 2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743EFF-14AB-4B89-9199-EBE6A57E3D20}" type="slidenum">
              <a:rPr lang="en-AU"/>
              <a:pPr>
                <a:defRPr/>
              </a:pPr>
              <a:t>‹#›</a:t>
            </a:fld>
            <a:endParaRPr lang="en-AU" sz="140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 not remove" hidden="1"/>
          <p:cNvSpPr/>
          <p:nvPr userDrawn="1">
            <p:custDataLst>
              <p:tags r:id="rId1"/>
            </p:custDataLst>
          </p:nvPr>
        </p:nvSpPr>
        <p:spPr bwMode="auto">
          <a:xfrm>
            <a:off x="0" y="0"/>
            <a:ext cx="12700" cy="12700"/>
          </a:xfrm>
          <a:prstGeom prst="octagon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AU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4" name="Slide Number Placeholder 3"/>
          <p:cNvSpPr txBox="1"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3348039" y="6524627"/>
            <a:ext cx="2409825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0252DFA-2EF7-4B49-BA3F-4202869729DE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itchFamily="34" charset="0"/>
                <a:ea typeface="ヒラギノ角ゴ Pro W3" charset="-128"/>
                <a:cs typeface="+mn-cs"/>
              </a:rPr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entury Gothic" pitchFamily="34" charset="0"/>
              <a:ea typeface="ヒラギノ角ゴ Pro W3" charset="-128"/>
              <a:cs typeface="+mn-cs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BC8A0416-A41B-4BAE-ADD1-13E5971A08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5682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67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o not remove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2700" cy="12700"/>
          </a:xfrm>
          <a:prstGeom prst="octagon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AU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2" name="Rectangle 2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D08E02D-3050-416A-9E6D-789025C80DC0}" type="slidenum">
              <a:rPr lang="en-AU"/>
              <a:pPr>
                <a:defRPr/>
              </a:pPr>
              <a:t>‹#›</a:t>
            </a:fld>
            <a:endParaRPr lang="en-AU" sz="1400"/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983D7E72-8896-49BF-BD22-F1468F87E73A}"/>
              </a:ext>
            </a:extLst>
          </p:cNvPr>
          <p:cNvPicPr/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4898" y="6332407"/>
            <a:ext cx="793606" cy="55297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4816A6-9206-493F-A78D-045BA6401E23}" type="slidenum">
              <a:rPr lang="en-AU"/>
              <a:pPr>
                <a:defRPr/>
              </a:pPr>
              <a:t>‹#›</a:t>
            </a:fld>
            <a:endParaRPr lang="en-AU" sz="140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AU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667F78-EED7-4DFD-95B9-C77F52C41014}" type="slidenum">
              <a:rPr lang="en-AU"/>
              <a:pPr>
                <a:defRPr/>
              </a:pPr>
              <a:t>‹#›</a:t>
            </a:fld>
            <a:endParaRPr lang="en-AU" sz="140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30" Type="http://schemas.openxmlformats.org/officeDocument/2006/relationships/theme" Target="../theme/theme1.xml"/><Relationship Id="rId31" Type="http://schemas.openxmlformats.org/officeDocument/2006/relationships/vmlDrawing" Target="../drawings/vmlDrawing1.vml"/><Relationship Id="rId32" Type="http://schemas.openxmlformats.org/officeDocument/2006/relationships/tags" Target="../tags/tag2.xml"/><Relationship Id="rId9" Type="http://schemas.openxmlformats.org/officeDocument/2006/relationships/slideLayout" Target="../slideLayouts/slideLayout9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33" Type="http://schemas.openxmlformats.org/officeDocument/2006/relationships/oleObject" Target="../embeddings/oleObject1.bin"/><Relationship Id="rId34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326224925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251" name="think-cell Slide" r:id="rId33" imgW="6350000" imgH="6350000" progId="TCLayout.ActiveDocument.1">
                  <p:embed/>
                </p:oleObj>
              </mc:Choice>
              <mc:Fallback>
                <p:oleObj name="think-cell Slide" r:id="rId33" imgW="6350000" imgH="6350000" progId="TCLayout.ActiveDocument.1">
                  <p:embed/>
                  <p:pic>
                    <p:nvPicPr>
                      <p:cNvPr id="0" name="Picture 2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reeform 8"/>
          <p:cNvSpPr>
            <a:spLocks/>
          </p:cNvSpPr>
          <p:nvPr/>
        </p:nvSpPr>
        <p:spPr bwMode="auto">
          <a:xfrm>
            <a:off x="9526" y="6265826"/>
            <a:ext cx="9134475" cy="280987"/>
          </a:xfrm>
          <a:custGeom>
            <a:avLst/>
            <a:gdLst>
              <a:gd name="T0" fmla="*/ 0 w 9133952"/>
              <a:gd name="T1" fmla="*/ 200976 h 281583"/>
              <a:gd name="T2" fmla="*/ 1780570 w 9133952"/>
              <a:gd name="T3" fmla="*/ 12781 h 281583"/>
              <a:gd name="T4" fmla="*/ 7073945 w 9133952"/>
              <a:gd name="T5" fmla="*/ 244896 h 281583"/>
              <a:gd name="T6" fmla="*/ 9136038 w 9133952"/>
              <a:gd name="T7" fmla="*/ 21632 h 281583"/>
              <a:gd name="T8" fmla="*/ 0 60000 65536"/>
              <a:gd name="T9" fmla="*/ 0 60000 65536"/>
              <a:gd name="T10" fmla="*/ 0 60000 65536"/>
              <a:gd name="T11" fmla="*/ 0 60000 65536"/>
              <a:gd name="T12" fmla="*/ 0 w 9133952"/>
              <a:gd name="T13" fmla="*/ 0 h 281583"/>
              <a:gd name="T14" fmla="*/ 9133952 w 9133952"/>
              <a:gd name="T15" fmla="*/ 281583 h 28158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9133952" h="281583">
                <a:moveTo>
                  <a:pt x="0" y="202686"/>
                </a:moveTo>
                <a:cubicBezTo>
                  <a:pt x="611473" y="81835"/>
                  <a:pt x="1413144" y="0"/>
                  <a:pt x="1780162" y="12889"/>
                </a:cubicBezTo>
                <a:cubicBezTo>
                  <a:pt x="4149622" y="53997"/>
                  <a:pt x="5999941" y="281583"/>
                  <a:pt x="7072330" y="246981"/>
                </a:cubicBezTo>
                <a:cubicBezTo>
                  <a:pt x="8317647" y="191043"/>
                  <a:pt x="8446745" y="96871"/>
                  <a:pt x="9133952" y="21816"/>
                </a:cubicBezTo>
              </a:path>
            </a:pathLst>
          </a:custGeom>
          <a:noFill/>
          <a:ln w="34925" cap="flat" cmpd="sng">
            <a:solidFill>
              <a:srgbClr val="E9E9E9"/>
            </a:solidFill>
            <a:prstDash val="solid"/>
            <a:round/>
            <a:headEnd type="none" w="med" len="med"/>
            <a:tailEnd type="none" w="med" len="med"/>
          </a:ln>
          <a:effectLst>
            <a:outerShdw dist="12700" dir="14640114" rotWithShape="0">
              <a:srgbClr val="DEE4F7"/>
            </a:outerShdw>
          </a:effectLst>
        </p:spPr>
        <p:txBody>
          <a:bodyPr/>
          <a:lstStyle/>
          <a:p>
            <a:pPr>
              <a:defRPr/>
            </a:pPr>
            <a:endParaRPr lang="en-AU"/>
          </a:p>
        </p:txBody>
      </p:sp>
      <p:sp>
        <p:nvSpPr>
          <p:cNvPr id="1027" name="Rectangle 13"/>
          <p:cNvSpPr>
            <a:spLocks noGrp="1" noChangeArrowheads="1"/>
          </p:cNvSpPr>
          <p:nvPr>
            <p:ph type="title"/>
          </p:nvPr>
        </p:nvSpPr>
        <p:spPr bwMode="auto">
          <a:xfrm>
            <a:off x="468314" y="142852"/>
            <a:ext cx="8207375" cy="775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1028" name="Rectangle 1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4" y="1268415"/>
            <a:ext cx="8207375" cy="5113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cxnSp>
        <p:nvCxnSpPr>
          <p:cNvPr id="1031" name="Straight Connector 6"/>
          <p:cNvCxnSpPr>
            <a:cxnSpLocks noChangeShapeType="1"/>
          </p:cNvCxnSpPr>
          <p:nvPr/>
        </p:nvCxnSpPr>
        <p:spPr bwMode="auto">
          <a:xfrm>
            <a:off x="0" y="928688"/>
            <a:ext cx="9144000" cy="0"/>
          </a:xfrm>
          <a:prstGeom prst="line">
            <a:avLst/>
          </a:prstGeom>
          <a:noFill/>
          <a:ln w="19050">
            <a:solidFill>
              <a:srgbClr val="7FA5D0"/>
            </a:solidFill>
            <a:round/>
            <a:headEnd/>
            <a:tailEnd/>
          </a:ln>
        </p:spPr>
      </p:cxnSp>
      <p:sp>
        <p:nvSpPr>
          <p:cNvPr id="1047" name="Rectangle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348039" y="6524627"/>
            <a:ext cx="2409825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mtClean="0">
                <a:latin typeface="Century Gothic" pitchFamily="34" charset="0"/>
              </a:defRPr>
            </a:lvl1pPr>
          </a:lstStyle>
          <a:p>
            <a:pPr>
              <a:defRPr/>
            </a:pPr>
            <a:fld id="{D722C1C2-082D-41F5-B2CB-18CB249CD0E0}" type="slidenum">
              <a:rPr lang="en-AU"/>
              <a:pPr>
                <a:defRPr/>
              </a:pPr>
              <a:t>‹#›</a:t>
            </a:fld>
            <a:endParaRPr lang="en-AU" sz="140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0" r:id="rId13"/>
    <p:sldLayoutId id="2147483661" r:id="rId14"/>
    <p:sldLayoutId id="2147483662" r:id="rId15"/>
    <p:sldLayoutId id="2147483663" r:id="rId16"/>
    <p:sldLayoutId id="2147483664" r:id="rId17"/>
    <p:sldLayoutId id="2147483665" r:id="rId18"/>
    <p:sldLayoutId id="2147483666" r:id="rId19"/>
    <p:sldLayoutId id="2147483667" r:id="rId20"/>
    <p:sldLayoutId id="2147483668" r:id="rId21"/>
    <p:sldLayoutId id="2147483669" r:id="rId22"/>
    <p:sldLayoutId id="2147483670" r:id="rId23"/>
    <p:sldLayoutId id="2147483671" r:id="rId24"/>
    <p:sldLayoutId id="2147483672" r:id="rId25"/>
    <p:sldLayoutId id="2147483673" r:id="rId26"/>
    <p:sldLayoutId id="2147483675" r:id="rId27"/>
    <p:sldLayoutId id="2147483676" r:id="rId28"/>
    <p:sldLayoutId id="2147483677" r:id="rId29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466"/>
          </a:solidFill>
          <a:latin typeface="Century Gothic" pitchFamily="34" charset="0"/>
          <a:ea typeface="+mj-ea"/>
          <a:cs typeface="ヒラギノ角ゴ Pro W3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7FA5D0"/>
          </a:solidFill>
          <a:latin typeface="Century Gothic" pitchFamily="34" charset="0"/>
          <a:ea typeface="ヒラギノ角ゴ Pro W3" pitchFamily="-64" charset="-128"/>
          <a:cs typeface="ヒラギノ角ゴ Pro W3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7FA5D0"/>
          </a:solidFill>
          <a:latin typeface="Century Gothic" pitchFamily="34" charset="0"/>
          <a:ea typeface="ヒラギノ角ゴ Pro W3" pitchFamily="-64" charset="-128"/>
          <a:cs typeface="ヒラギノ角ゴ Pro W3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7FA5D0"/>
          </a:solidFill>
          <a:latin typeface="Century Gothic" pitchFamily="34" charset="0"/>
          <a:ea typeface="ヒラギノ角ゴ Pro W3" pitchFamily="-64" charset="-128"/>
          <a:cs typeface="ヒラギノ角ゴ Pro W3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7FA5D0"/>
          </a:solidFill>
          <a:latin typeface="Century Gothic" pitchFamily="34" charset="0"/>
          <a:ea typeface="ヒラギノ角ゴ Pro W3" pitchFamily="-64" charset="-128"/>
          <a:cs typeface="ヒラギノ角ゴ Pro W3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b="1">
          <a:solidFill>
            <a:srgbClr val="7FA5D0"/>
          </a:solidFill>
          <a:latin typeface="Arial" charset="0"/>
          <a:ea typeface="ヒラギノ角ゴ Pro W3" pitchFamily="-64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b="1">
          <a:solidFill>
            <a:srgbClr val="7FA5D0"/>
          </a:solidFill>
          <a:latin typeface="Arial" charset="0"/>
          <a:ea typeface="ヒラギノ角ゴ Pro W3" pitchFamily="-64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b="1">
          <a:solidFill>
            <a:srgbClr val="7FA5D0"/>
          </a:solidFill>
          <a:latin typeface="Arial" charset="0"/>
          <a:ea typeface="ヒラギノ角ゴ Pro W3" pitchFamily="-64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b="1">
          <a:solidFill>
            <a:srgbClr val="7FA5D0"/>
          </a:solidFill>
          <a:latin typeface="Arial" charset="0"/>
          <a:ea typeface="ヒラギノ角ゴ Pro W3" pitchFamily="-64" charset="-128"/>
        </a:defRPr>
      </a:lvl9pPr>
    </p:titleStyle>
    <p:bodyStyle>
      <a:lvl1pPr marL="0" indent="0" algn="l" rtl="0" eaLnBrk="1" fontAlgn="base" hangingPunct="1">
        <a:spcBef>
          <a:spcPct val="20000"/>
        </a:spcBef>
        <a:spcAft>
          <a:spcPct val="0"/>
        </a:spcAft>
        <a:defRPr>
          <a:solidFill>
            <a:srgbClr val="023466"/>
          </a:solidFill>
          <a:latin typeface="Century Gothic" pitchFamily="34" charset="0"/>
          <a:ea typeface="+mn-ea"/>
          <a:cs typeface="ヒラギノ角ゴ Pro W3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1600">
          <a:solidFill>
            <a:srgbClr val="023466"/>
          </a:solidFill>
          <a:latin typeface="Century Gothic" pitchFamily="34" charset="0"/>
          <a:ea typeface="+mn-ea"/>
          <a:cs typeface="ヒラギノ角ゴ Pro W3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rgbClr val="023466"/>
          </a:solidFill>
          <a:latin typeface="Century Gothic" pitchFamily="34" charset="0"/>
          <a:ea typeface="+mn-ea"/>
          <a:cs typeface="ヒラギノ角ゴ Pro W3" charset="0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600">
          <a:solidFill>
            <a:srgbClr val="023466"/>
          </a:solidFill>
          <a:latin typeface="Century Gothic" pitchFamily="34" charset="0"/>
          <a:ea typeface="+mn-ea"/>
          <a:cs typeface="ヒラギノ角ゴ Pro W3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rgbClr val="023466"/>
          </a:solidFill>
          <a:latin typeface="Century Gothic" pitchFamily="34" charset="0"/>
          <a:ea typeface="+mn-ea"/>
          <a:cs typeface="ヒラギノ角ゴ Pro W3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rgbClr val="023466"/>
          </a:solidFill>
          <a:latin typeface="+mn-lt"/>
          <a:ea typeface="+mn-ea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rgbClr val="023466"/>
          </a:solidFill>
          <a:latin typeface="+mn-lt"/>
          <a:ea typeface="+mn-ea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rgbClr val="023466"/>
          </a:solidFill>
          <a:latin typeface="+mn-lt"/>
          <a:ea typeface="+mn-ea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rgbClr val="023466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4" Type="http://schemas.openxmlformats.org/officeDocument/2006/relationships/slideLayout" Target="../slideLayouts/slideLayout6.xml"/><Relationship Id="rId5" Type="http://schemas.openxmlformats.org/officeDocument/2006/relationships/oleObject" Target="../embeddings/oleObject7.bin"/><Relationship Id="rId6" Type="http://schemas.openxmlformats.org/officeDocument/2006/relationships/image" Target="../media/image4.emf"/><Relationship Id="rId7" Type="http://schemas.openxmlformats.org/officeDocument/2006/relationships/image" Target="../media/image5.png"/><Relationship Id="rId8" Type="http://schemas.openxmlformats.org/officeDocument/2006/relationships/image" Target="../media/image3.emf"/><Relationship Id="rId1" Type="http://schemas.openxmlformats.org/officeDocument/2006/relationships/vmlDrawing" Target="../drawings/vmlDrawing7.vml"/><Relationship Id="rId2" Type="http://schemas.openxmlformats.org/officeDocument/2006/relationships/tags" Target="../tags/tag19.xml"/></Relationships>
</file>

<file path=ppt/slides/_rels/slide2.xml.rels><?xml version="1.0" encoding="UTF-8" standalone="yes"?>
<Relationships xmlns="http://schemas.openxmlformats.org/package/2006/relationships"><Relationship Id="rId11" Type="http://schemas.openxmlformats.org/officeDocument/2006/relationships/diagramColors" Target="../diagrams/colors1.xml"/><Relationship Id="rId12" Type="http://schemas.microsoft.com/office/2007/relationships/diagramDrawing" Target="../diagrams/drawing1.xml"/><Relationship Id="rId13" Type="http://schemas.openxmlformats.org/officeDocument/2006/relationships/image" Target="../media/image3.emf"/><Relationship Id="rId1" Type="http://schemas.openxmlformats.org/officeDocument/2006/relationships/vmlDrawing" Target="../drawings/vmlDrawing8.vml"/><Relationship Id="rId2" Type="http://schemas.openxmlformats.org/officeDocument/2006/relationships/tags" Target="../tags/tag21.xml"/><Relationship Id="rId3" Type="http://schemas.openxmlformats.org/officeDocument/2006/relationships/tags" Target="../tags/tag22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.xml"/><Relationship Id="rId6" Type="http://schemas.openxmlformats.org/officeDocument/2006/relationships/oleObject" Target="../embeddings/oleObject8.bin"/><Relationship Id="rId7" Type="http://schemas.openxmlformats.org/officeDocument/2006/relationships/image" Target="../media/image6.emf"/><Relationship Id="rId8" Type="http://schemas.openxmlformats.org/officeDocument/2006/relationships/diagramData" Target="../diagrams/data1.xml"/><Relationship Id="rId9" Type="http://schemas.openxmlformats.org/officeDocument/2006/relationships/diagramLayout" Target="../diagrams/layout1.xml"/><Relationship Id="rId10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11" Type="http://schemas.openxmlformats.org/officeDocument/2006/relationships/diagramColors" Target="../diagrams/colors2.xml"/><Relationship Id="rId12" Type="http://schemas.microsoft.com/office/2007/relationships/diagramDrawing" Target="../diagrams/drawing2.xml"/><Relationship Id="rId13" Type="http://schemas.openxmlformats.org/officeDocument/2006/relationships/image" Target="../media/image3.emf"/><Relationship Id="rId14" Type="http://schemas.openxmlformats.org/officeDocument/2006/relationships/image" Target="../media/image13.png"/><Relationship Id="rId1" Type="http://schemas.openxmlformats.org/officeDocument/2006/relationships/vmlDrawing" Target="../drawings/vmlDrawing9.vml"/><Relationship Id="rId2" Type="http://schemas.openxmlformats.org/officeDocument/2006/relationships/tags" Target="../tags/tag23.xml"/><Relationship Id="rId3" Type="http://schemas.openxmlformats.org/officeDocument/2006/relationships/tags" Target="../tags/tag24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2.xml"/><Relationship Id="rId6" Type="http://schemas.openxmlformats.org/officeDocument/2006/relationships/oleObject" Target="../embeddings/oleObject9.bin"/><Relationship Id="rId7" Type="http://schemas.openxmlformats.org/officeDocument/2006/relationships/image" Target="../media/image6.emf"/><Relationship Id="rId8" Type="http://schemas.openxmlformats.org/officeDocument/2006/relationships/diagramData" Target="../diagrams/data2.xml"/><Relationship Id="rId9" Type="http://schemas.openxmlformats.org/officeDocument/2006/relationships/diagramLayout" Target="../diagrams/layout2.xml"/><Relationship Id="rId10" Type="http://schemas.openxmlformats.org/officeDocument/2006/relationships/diagramQuickStyle" Target="../diagrams/quickStyl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733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46538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latin typeface="Century Gothic"/>
              <a:ea typeface="ヒラギノ角ゴ Pro W3"/>
              <a:cs typeface="Arial"/>
              <a:sym typeface="Century Gothic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ile Experts Group – proven experts with proven industry result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23528" y="1628800"/>
            <a:ext cx="806450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accent6">
                    <a:lumMod val="50000"/>
                  </a:schemeClr>
                </a:solidFill>
                <a:latin typeface="+mn-lt"/>
              </a:rPr>
              <a:t>Senior Executives </a:t>
            </a:r>
            <a:r>
              <a:rPr lang="en-US" sz="2000" dirty="0">
                <a:solidFill>
                  <a:schemeClr val="accent6">
                    <a:lumMod val="50000"/>
                  </a:schemeClr>
                </a:solidFill>
                <a:latin typeface="+mn-lt"/>
              </a:rPr>
              <a:t>with </a:t>
            </a:r>
            <a:r>
              <a:rPr lang="en-US" sz="2000" b="1" dirty="0">
                <a:solidFill>
                  <a:schemeClr val="accent6">
                    <a:lumMod val="50000"/>
                  </a:schemeClr>
                </a:solidFill>
                <a:latin typeface="+mn-lt"/>
              </a:rPr>
              <a:t>real experience </a:t>
            </a:r>
            <a:r>
              <a:rPr lang="en-US" sz="2000" dirty="0">
                <a:solidFill>
                  <a:schemeClr val="accent6">
                    <a:lumMod val="50000"/>
                  </a:schemeClr>
                </a:solidFill>
                <a:latin typeface="+mn-lt"/>
              </a:rPr>
              <a:t>of building and leading high performing teams across the </a:t>
            </a:r>
            <a:r>
              <a:rPr lang="en-US" sz="2000" b="1" dirty="0">
                <a:solidFill>
                  <a:schemeClr val="accent6">
                    <a:lumMod val="50000"/>
                  </a:schemeClr>
                </a:solidFill>
                <a:latin typeface="+mn-lt"/>
              </a:rPr>
              <a:t>consumer goods</a:t>
            </a:r>
            <a:r>
              <a:rPr lang="en-US" sz="2000" dirty="0">
                <a:solidFill>
                  <a:schemeClr val="accent6">
                    <a:lumMod val="50000"/>
                  </a:schemeClr>
                </a:solidFill>
                <a:latin typeface="+mn-lt"/>
              </a:rPr>
              <a:t> </a:t>
            </a:r>
            <a:r>
              <a:rPr lang="en-US" sz="2000" dirty="0" smtClean="0">
                <a:solidFill>
                  <a:schemeClr val="accent6">
                    <a:lumMod val="50000"/>
                  </a:schemeClr>
                </a:solidFill>
                <a:latin typeface="+mn-lt"/>
              </a:rPr>
              <a:t>and services industry</a:t>
            </a:r>
            <a:endParaRPr lang="en-US" sz="2000" dirty="0">
              <a:solidFill>
                <a:schemeClr val="accent6">
                  <a:lumMod val="50000"/>
                </a:schemeClr>
              </a:solidFill>
              <a:latin typeface="+mn-lt"/>
            </a:endParaRPr>
          </a:p>
          <a:p>
            <a:pPr algn="ctr"/>
            <a:endParaRPr lang="en-US" sz="2000" dirty="0">
              <a:solidFill>
                <a:schemeClr val="accent6">
                  <a:lumMod val="50000"/>
                </a:schemeClr>
              </a:solidFill>
              <a:latin typeface="+mn-lt"/>
            </a:endParaRPr>
          </a:p>
          <a:p>
            <a:pPr algn="ctr"/>
            <a:r>
              <a:rPr lang="en-US" sz="2000" dirty="0">
                <a:solidFill>
                  <a:schemeClr val="accent6">
                    <a:lumMod val="50000"/>
                  </a:schemeClr>
                </a:solidFill>
                <a:latin typeface="+mn-lt"/>
              </a:rPr>
              <a:t>We don’t see ourselves as traditional consultants - We are your </a:t>
            </a:r>
            <a:r>
              <a:rPr lang="en-US" sz="2000" b="1" dirty="0">
                <a:solidFill>
                  <a:schemeClr val="accent6">
                    <a:lumMod val="50000"/>
                  </a:schemeClr>
                </a:solidFill>
                <a:latin typeface="+mn-lt"/>
              </a:rPr>
              <a:t>expert partners</a:t>
            </a:r>
          </a:p>
          <a:p>
            <a:pPr algn="ctr"/>
            <a:endParaRPr lang="en-US" sz="2000" dirty="0">
              <a:solidFill>
                <a:schemeClr val="accent6">
                  <a:lumMod val="50000"/>
                </a:schemeClr>
              </a:solidFill>
              <a:latin typeface="+mn-lt"/>
            </a:endParaRPr>
          </a:p>
          <a:p>
            <a:pPr algn="ctr"/>
            <a:r>
              <a:rPr lang="en-US" sz="2000" dirty="0">
                <a:solidFill>
                  <a:schemeClr val="accent6">
                    <a:lumMod val="50000"/>
                  </a:schemeClr>
                </a:solidFill>
                <a:latin typeface="+mn-lt"/>
              </a:rPr>
              <a:t>We are </a:t>
            </a:r>
            <a:r>
              <a:rPr lang="en-US" sz="2000" b="1" dirty="0">
                <a:solidFill>
                  <a:schemeClr val="accent6">
                    <a:lumMod val="50000"/>
                  </a:schemeClr>
                </a:solidFill>
                <a:latin typeface="+mn-lt"/>
              </a:rPr>
              <a:t>passionate</a:t>
            </a:r>
            <a:r>
              <a:rPr lang="en-US" sz="2000" dirty="0">
                <a:solidFill>
                  <a:schemeClr val="accent6">
                    <a:lumMod val="50000"/>
                  </a:schemeClr>
                </a:solidFill>
                <a:latin typeface="+mn-lt"/>
              </a:rPr>
              <a:t> about leveraging our experiences to </a:t>
            </a:r>
            <a:r>
              <a:rPr lang="en-US" sz="2000" b="1" dirty="0">
                <a:solidFill>
                  <a:schemeClr val="accent6">
                    <a:lumMod val="50000"/>
                  </a:schemeClr>
                </a:solidFill>
                <a:latin typeface="+mn-lt"/>
              </a:rPr>
              <a:t>drive change and performance </a:t>
            </a:r>
            <a:r>
              <a:rPr lang="en-US" sz="2000" dirty="0">
                <a:solidFill>
                  <a:schemeClr val="accent6">
                    <a:lumMod val="50000"/>
                  </a:schemeClr>
                </a:solidFill>
                <a:latin typeface="+mn-lt"/>
              </a:rPr>
              <a:t>acceleration for our clients</a:t>
            </a:r>
          </a:p>
          <a:p>
            <a:pPr algn="ctr"/>
            <a:endParaRPr lang="en-US" sz="2000" b="1" dirty="0">
              <a:solidFill>
                <a:schemeClr val="accent6">
                  <a:lumMod val="50000"/>
                </a:schemeClr>
              </a:solidFill>
              <a:latin typeface="+mn-lt"/>
            </a:endParaRPr>
          </a:p>
          <a:p>
            <a:pPr algn="ctr"/>
            <a:r>
              <a:rPr lang="en-US" sz="2000" dirty="0">
                <a:solidFill>
                  <a:schemeClr val="accent6">
                    <a:lumMod val="50000"/>
                  </a:schemeClr>
                </a:solidFill>
                <a:latin typeface="+mn-lt"/>
              </a:rPr>
              <a:t>Clear focus on </a:t>
            </a:r>
            <a:r>
              <a:rPr lang="en-US" sz="2000" b="1" dirty="0">
                <a:solidFill>
                  <a:schemeClr val="accent6">
                    <a:lumMod val="50000"/>
                  </a:schemeClr>
                </a:solidFill>
                <a:latin typeface="+mn-lt"/>
              </a:rPr>
              <a:t>execution and outcomes, </a:t>
            </a:r>
            <a:r>
              <a:rPr lang="en-US" sz="2000" dirty="0">
                <a:solidFill>
                  <a:schemeClr val="accent6">
                    <a:lumMod val="50000"/>
                  </a:schemeClr>
                </a:solidFill>
                <a:latin typeface="+mn-lt"/>
              </a:rPr>
              <a:t>not just recommendations</a:t>
            </a:r>
            <a:endParaRPr lang="en-AU" sz="20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A4C25296-AC70-448E-9A0F-DBAFEEAC0D1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27108" y="5314624"/>
            <a:ext cx="5689785" cy="85068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B2504A8F-0870-449D-A813-C9F1D2E79F96}"/>
              </a:ext>
            </a:extLst>
          </p:cNvPr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4898" y="6332407"/>
            <a:ext cx="793606" cy="552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38450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78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23343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23" name="Object 22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8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78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z="1400" dirty="0">
              <a:solidFill>
                <a:srgbClr val="142350"/>
              </a:solidFill>
              <a:latin typeface="Century Gothic"/>
              <a:ea typeface="ヒラギノ角ゴ Pro W3"/>
              <a:sym typeface="Century Gothic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68314" y="142852"/>
            <a:ext cx="8496174" cy="775544"/>
          </a:xfrm>
        </p:spPr>
        <p:txBody>
          <a:bodyPr/>
          <a:lstStyle/>
          <a:p>
            <a:r>
              <a:rPr lang="en-AU" dirty="0"/>
              <a:t>Industry experts covering all key functional areas</a:t>
            </a:r>
          </a:p>
        </p:txBody>
      </p:sp>
      <p:cxnSp>
        <p:nvCxnSpPr>
          <p:cNvPr id="124" name="Straight Connector 123"/>
          <p:cNvCxnSpPr/>
          <p:nvPr/>
        </p:nvCxnSpPr>
        <p:spPr bwMode="auto">
          <a:xfrm>
            <a:off x="539552" y="7101408"/>
            <a:ext cx="8100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758749814"/>
              </p:ext>
            </p:extLst>
          </p:nvPr>
        </p:nvGraphicFramePr>
        <p:xfrm>
          <a:off x="539750" y="1052736"/>
          <a:ext cx="8064500" cy="532901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="" xmlns:a16="http://schemas.microsoft.com/office/drawing/2014/main" id="{B3046454-F88F-4683-B716-6D22035C7A5D}"/>
              </a:ext>
            </a:extLst>
          </p:cNvPr>
          <p:cNvPicPr/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4898" y="6332407"/>
            <a:ext cx="793606" cy="552977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6876256" y="260648"/>
            <a:ext cx="5229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400">
                <a:solidFill>
                  <a:schemeClr val="bg1"/>
                </a:solidFill>
                <a:latin typeface="+mn-lt"/>
              </a:rPr>
              <a:t> </a:t>
            </a:r>
            <a:endParaRPr lang="en-US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267743" y="1336314"/>
            <a:ext cx="537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800">
                <a:solidFill>
                  <a:schemeClr val="bg1"/>
                </a:solidFill>
              </a:rPr>
              <a:t> 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256499" y="1921670"/>
            <a:ext cx="537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800" dirty="0">
                <a:solidFill>
                  <a:schemeClr val="bg1"/>
                </a:solidFill>
                <a:latin typeface="+mn-lt"/>
              </a:rPr>
              <a:t>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267743" y="1632190"/>
            <a:ext cx="537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80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267744" y="5296754"/>
            <a:ext cx="537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80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256499" y="5596919"/>
            <a:ext cx="537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80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267744" y="5877272"/>
            <a:ext cx="537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800" dirty="0" smtClean="0">
                <a:solidFill>
                  <a:schemeClr val="bg1"/>
                </a:solidFill>
              </a:rPr>
              <a:t> </a:t>
            </a:r>
            <a:endParaRPr lang="en-US" sz="1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45868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78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2436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23" name="Object 22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8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78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142350"/>
              </a:solidFill>
              <a:latin typeface="Century Gothic"/>
              <a:ea typeface="ヒラギノ角ゴ Pro W3"/>
              <a:sym typeface="Century Gothic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Agile experts actively engaged in driving performance across leading consumer industries</a:t>
            </a:r>
          </a:p>
        </p:txBody>
      </p:sp>
      <p:cxnSp>
        <p:nvCxnSpPr>
          <p:cNvPr id="124" name="Straight Connector 123"/>
          <p:cNvCxnSpPr/>
          <p:nvPr/>
        </p:nvCxnSpPr>
        <p:spPr bwMode="auto">
          <a:xfrm>
            <a:off x="539552" y="7101408"/>
            <a:ext cx="8100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1350298339"/>
              </p:ext>
            </p:extLst>
          </p:nvPr>
        </p:nvGraphicFramePr>
        <p:xfrm>
          <a:off x="539750" y="1124744"/>
          <a:ext cx="8064500" cy="50405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934276" y="5385345"/>
            <a:ext cx="7272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tabLst>
                <a:tab pos="3589338" algn="ctr"/>
                <a:tab pos="6992938" algn="r"/>
              </a:tabLst>
            </a:pPr>
            <a:r>
              <a:rPr lang="en-AU" sz="1400" b="1" dirty="0">
                <a:solidFill>
                  <a:schemeClr val="tx2"/>
                </a:solidFill>
                <a:latin typeface="Century Gothic" pitchFamily="34" charset="0"/>
              </a:rPr>
              <a:t>Partnering with leading consumer goods companies &amp; industry associations</a:t>
            </a:r>
            <a:endParaRPr lang="en-AU" sz="1400" b="1" dirty="0">
              <a:latin typeface="Century Gothic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66AB51FC-DE50-483A-B323-45B5CB1734F6}"/>
              </a:ext>
            </a:extLst>
          </p:cNvPr>
          <p:cNvPicPr/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4898" y="6332407"/>
            <a:ext cx="793606" cy="55297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0878F5E5-D2EC-430A-8CA8-9732E2756E14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588224" y="1854500"/>
            <a:ext cx="1440160" cy="720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47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H_FLYSHEET_STYLE" val="1"/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/%m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4&quot;&gt;&lt;elem m_fUsage=&quot;1.43465905664425896759E+00&quot;&gt;&lt;m_msothmcolidx val=&quot;0&quot;/&gt;&lt;m_rgb r=&quot;FA&quot; g=&quot;96&quot; b=&quot;C8&quot;/&gt;&lt;m_nBrightness val=&quot;0&quot;/&gt;&lt;/elem&gt;&lt;elem m_fUsage=&quot;1.24867844010000017541E+00&quot;&gt;&lt;m_msothmcolidx val=&quot;0&quot;/&gt;&lt;m_rgb r=&quot;C8&quot; g=&quot;DE&quot; b=&quot;79&quot;/&gt;&lt;m_nBrightness val=&quot;0&quot;/&gt;&lt;/elem&gt;&lt;elem m_fUsage=&quot;1.24046721000000004231E+00&quot;&gt;&lt;m_msothmcolidx val=&quot;0&quot;/&gt;&lt;m_rgb r=&quot;FF&quot; g=&quot;55&quot; b=&quot;55&quot;/&gt;&lt;m_nBrightness val=&quot;0&quot;/&gt;&lt;/elem&gt;&lt;elem m_fUsage=&quot;9.77910489000000326953E-01&quot;&gt;&lt;m_msothmcolidx val=&quot;0&quot;/&gt;&lt;m_rgb r=&quot;46&quot; g=&quot;00&quot; b=&quot;86&quot;/&gt;&lt;m_nBrightness val=&quot;0&quot;/&gt;&lt;/elem&gt;&lt;elem m_fUsage=&quot;7.92107496090000307021E-01&quot;&gt;&lt;m_msothmcolidx val=&quot;0&quot;/&gt;&lt;m_rgb r=&quot;38&quot; g=&quot;06&quot; b=&quot;12&quot;/&gt;&lt;m_nBrightness val=&quot;0&quot;/&gt;&lt;/elem&gt;&lt;elem m_fUsage=&quot;7.29000000000000092371E-01&quot;&gt;&lt;m_msothmcolidx val=&quot;0&quot;/&gt;&lt;m_rgb r=&quot;C8&quot; g=&quot;00&quot; b=&quot;00&quot;/&gt;&lt;m_nBrightness val=&quot;0&quot;/&gt;&lt;/elem&gt;&lt;elem m_fUsage=&quot;6.56100000000000127542E-01&quot;&gt;&lt;m_msothmcolidx val=&quot;0&quot;/&gt;&lt;m_rgb r=&quot;96&quot; g=&quot;00&quot; b=&quot;00&quot;/&gt;&lt;m_nBrightness val=&quot;0&quot;/&gt;&lt;/elem&gt;&lt;elem m_fUsage=&quot;5.31441000000000163261E-01&quot;&gt;&lt;m_msothmcolidx val=&quot;0&quot;/&gt;&lt;m_rgb r=&quot;79&quot; g=&quot;09&quot; b=&quot;27&quot;/&gt;&lt;m_nBrightness val=&quot;0&quot;/&gt;&lt;/elem&gt;&lt;elem m_fUsage=&quot;4.47896079445864292445E-01&quot;&gt;&lt;m_msothmcolidx val=&quot;0&quot;/&gt;&lt;m_rgb r=&quot;FA&quot; g=&quot;FA&quot; b=&quot;96&quot;/&gt;&lt;m_nBrightness val=&quot;0&quot;/&gt;&lt;/elem&gt;&lt;elem m_fUsage=&quot;4.31904718383800234616E-01&quot;&gt;&lt;m_msothmcolidx val=&quot;0&quot;/&gt;&lt;m_rgb r=&quot;80&quot; g=&quot;4B&quot; b=&quot;44&quot;/&gt;&lt;m_nBrightness val=&quot;0&quot;/&gt;&lt;/elem&gt;&lt;elem m_fUsage=&quot;2.85179807064298407315E-01&quot;&gt;&lt;m_msothmcolidx val=&quot;0&quot;/&gt;&lt;m_rgb r=&quot;EC&quot; g=&quot;E4&quot; b=&quot;B9&quot;/&gt;&lt;m_nBrightness val=&quot;0&quot;/&gt;&lt;/elem&gt;&lt;elem m_fUsage=&quot;1.85302018885184188735E-01&quot;&gt;&lt;m_msothmcolidx val=&quot;0&quot;/&gt;&lt;m_rgb r=&quot;F7&quot; g=&quot;F7&quot; b=&quot;51&quot;/&gt;&lt;m_nBrightness val=&quot;0&quot;/&gt;&lt;/elem&gt;&lt;elem m_fUsage=&quot;1.76947501672841622788E-01&quot;&gt;&lt;m_msothmcolidx val=&quot;0&quot;/&gt;&lt;m_rgb r=&quot;F0&quot; g=&quot;FA&quot; b=&quot;05&quot;/&gt;&lt;m_nBrightness val=&quot;0&quot;/&gt;&lt;/elem&gt;&lt;elem m_fUsage=&quot;1.68395824273397554105E-01&quot;&gt;&lt;m_msothmcolidx val=&quot;0&quot;/&gt;&lt;m_rgb r=&quot;AF&quot; g=&quot;C8&quot; b=&quot;FA&quot;/&gt;&lt;m_nBrightness val=&quot;0&quot;/&gt;&lt;/elem&gt;&lt;elem m_fUsage=&quot;1.66771816996665767086E-01&quot;&gt;&lt;m_msothmcolidx val=&quot;0&quot;/&gt;&lt;m_rgb r=&quot;F8&quot; g=&quot;F8&quot; b=&quot;65&quot;/&gt;&lt;m_nBrightness val=&quot;0&quot;/&gt;&lt;/elem&gt;&lt;elem m_fUsage=&quot;1.09443714296651159468E-01&quot;&gt;&lt;m_msothmcolidx val=&quot;0&quot;/&gt;&lt;m_rgb r=&quot;50&quot; g=&quot;6E&quot; b=&quot;32&quot;/&gt;&lt;m_nBrightness val=&quot;0&quot;/&gt;&lt;/elem&gt;&lt;elem m_fUsage=&quot;8.97127034950950252856E-02&quot;&gt;&lt;m_msothmcolidx val=&quot;0&quot;/&gt;&lt;m_rgb r=&quot;DC&quot; g=&quot;87&quot; b=&quot;00&quot;/&gt;&lt;m_nBrightness val=&quot;0&quot;/&gt;&lt;/elem&gt;&lt;elem m_fUsage=&quot;7.57117166148651710156E-02&quot;&gt;&lt;m_msothmcolidx val=&quot;0&quot;/&gt;&lt;m_rgb r=&quot;B9&quot; g=&quot;85&quot; b=&quot;7D&quot;/&gt;&lt;m_nBrightness val=&quot;0&quot;/&gt;&lt;/elem&gt;&lt;elem m_fUsage=&quot;5.81497370030401097840E-02&quot;&gt;&lt;m_msothmcolidx val=&quot;0&quot;/&gt;&lt;m_rgb r=&quot;B4&quot; g=&quot;5A&quot; b=&quot;64&quot;/&gt;&lt;m_nBrightness val=&quot;0&quot;/&gt;&lt;/elem&gt;&lt;elem m_fUsage=&quot;4.23911582752162438559E-02&quot;&gt;&lt;m_msothmcolidx val=&quot;0&quot;/&gt;&lt;m_rgb r=&quot;F9&quot; g=&quot;FC&quot; b=&quot;8D&quot;/&gt;&lt;m_nBrightness val=&quot;0&quot;/&gt;&lt;/elem&gt;&lt;elem m_fUsage=&quot;3.09031543826326429714E-02&quot;&gt;&lt;m_msothmcolidx val=&quot;0&quot;/&gt;&lt;m_rgb r=&quot;F5&quot; g=&quot;FA&quot; b=&quot;64&quot;/&gt;&lt;m_nBrightness val=&quot;0&quot;/&gt;&lt;/elem&gt;&lt;elem m_fUsage=&quot;2.78128389443693807559E-02&quot;&gt;&lt;m_msothmcolidx val=&quot;0&quot;/&gt;&lt;m_rgb r=&quot;F0&quot; g=&quot;FA&quot; b=&quot;00&quot;/&gt;&lt;m_nBrightness val=&quot;0&quot;/&gt;&lt;/elem&gt;&lt;elem m_fUsage=&quot;2.25283995449391989674E-02&quot;&gt;&lt;m_msothmcolidx val=&quot;0&quot;/&gt;&lt;m_rgb r=&quot;FA&quot; g=&quot;FD&quot; b=&quot;A6&quot;/&gt;&lt;m_nBrightness val=&quot;0&quot;/&gt;&lt;/elem&gt;&lt;elem m_fUsage=&quot;2.02755595904452780298E-02&quot;&gt;&lt;m_msothmcolidx val=&quot;0&quot;/&gt;&lt;m_rgb r=&quot;F4&quot; g=&quot;FC&quot; b=&quot;67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vmg9H9Ak.J3xYXMP72R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Qe6pryv06.kXzyIZCUN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.hLYZPOkyJ4qEkdeMMH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iFwIsLj0SHjlH9UHfIG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cVgpdsfEC_Z9eHVEs7W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7XhdyEakmiWzqmIuYnW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oa2PTizkSRJX9ZEsNgh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krGVJKS06h6tV8LGylV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krGVJKS06h6tV8LGylV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7XhdyEakmiWzqmIuYnW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zBVn_UuEGNy7BSIPN9ig"/>
</p:tagLst>
</file>

<file path=ppt/theme/theme1.xml><?xml version="1.0" encoding="utf-8"?>
<a:theme xmlns:a="http://schemas.openxmlformats.org/drawingml/2006/main" name="160315 Strategy Group Template v9.7">
  <a:themeElements>
    <a:clrScheme name="">
      <a:dk1>
        <a:srgbClr val="142350"/>
      </a:dk1>
      <a:lt1>
        <a:srgbClr val="FFFFFF"/>
      </a:lt1>
      <a:dk2>
        <a:srgbClr val="142350"/>
      </a:dk2>
      <a:lt2>
        <a:srgbClr val="7C7F81"/>
      </a:lt2>
      <a:accent1>
        <a:srgbClr val="3563A1"/>
      </a:accent1>
      <a:accent2>
        <a:srgbClr val="142350"/>
      </a:accent2>
      <a:accent3>
        <a:srgbClr val="FFFFFF"/>
      </a:accent3>
      <a:accent4>
        <a:srgbClr val="0F1C43"/>
      </a:accent4>
      <a:accent5>
        <a:srgbClr val="AEB7CD"/>
      </a:accent5>
      <a:accent6>
        <a:srgbClr val="111F48"/>
      </a:accent6>
      <a:hlink>
        <a:srgbClr val="0D999A"/>
      </a:hlink>
      <a:folHlink>
        <a:srgbClr val="A1C735"/>
      </a:folHlink>
    </a:clrScheme>
    <a:fontScheme name="Century Gothic">
      <a:majorFont>
        <a:latin typeface="Century Gothic"/>
        <a:ea typeface="ヒラギノ角ゴ Pro W3"/>
        <a:cs typeface=""/>
      </a:majorFont>
      <a:minorFont>
        <a:latin typeface="Century Gothic"/>
        <a:ea typeface="ヒラギノ角ゴ Pro W3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6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64" charset="-128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sz="1400" dirty="0">
            <a:latin typeface="+mn-lt"/>
          </a:defRPr>
        </a:defPPr>
      </a:lstStyle>
    </a:tx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160315 Strategy Group Template v9.7</Template>
  <TotalTime>28342</TotalTime>
  <Words>200</Words>
  <Application>Microsoft Macintosh PowerPoint</Application>
  <PresentationFormat>On-screen Show (4:3)</PresentationFormat>
  <Paragraphs>45</Paragraphs>
  <Slides>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9" baseType="lpstr">
      <vt:lpstr>Arial</vt:lpstr>
      <vt:lpstr>Century Gothic</vt:lpstr>
      <vt:lpstr>Wingdings</vt:lpstr>
      <vt:lpstr>ヒラギノ角ゴ Pro W3</vt:lpstr>
      <vt:lpstr>160315 Strategy Group Template v9.7</vt:lpstr>
      <vt:lpstr>think-cell Slide</vt:lpstr>
      <vt:lpstr>Agile Experts Group – proven experts with proven industry results</vt:lpstr>
      <vt:lpstr>Industry experts covering all key functional areas</vt:lpstr>
      <vt:lpstr>Agile experts actively engaged in driving performance across leading consumer industries</vt:lpstr>
    </vt:vector>
  </TitlesOfParts>
  <Company>Premium Wine Brands</Company>
  <LinksUpToDate>false</LinksUpToDate>
  <SharedDoc>false</SharedDoc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l Mastro, Michael</dc:creator>
  <cp:lastModifiedBy>richard coker</cp:lastModifiedBy>
  <cp:revision>427</cp:revision>
  <cp:lastPrinted>2015-09-17T06:02:59Z</cp:lastPrinted>
  <dcterms:created xsi:type="dcterms:W3CDTF">2017-02-17T00:53:12Z</dcterms:created>
  <dcterms:modified xsi:type="dcterms:W3CDTF">2017-11-09T21:59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otes0">
    <vt:lpwstr>New Bottle of Etchart</vt:lpwstr>
  </property>
  <property fmtid="{D5CDD505-2E9C-101B-9397-08002B2CF9AE}" pid="3" name="ContentType">
    <vt:lpwstr>Document</vt:lpwstr>
  </property>
  <property fmtid="{D5CDD505-2E9C-101B-9397-08002B2CF9AE}" pid="4" name="Order">
    <vt:lpwstr>2000.00000000000</vt:lpwstr>
  </property>
  <property fmtid="{D5CDD505-2E9C-101B-9397-08002B2CF9AE}" pid="5" name="Template Type">
    <vt:lpwstr>Powerpoint</vt:lpwstr>
  </property>
  <property fmtid="{D5CDD505-2E9C-101B-9397-08002B2CF9AE}" pid="6" name="Business Unit">
    <vt:lpwstr>Premium Wine Brands</vt:lpwstr>
  </property>
</Properties>
</file>